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tags/tag4.xml" ContentType="application/vnd.openxmlformats-officedocument.presentationml.tags+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6.xml" ContentType="application/vnd.openxmlformats-officedocument.them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Default Extension="bin" ContentType="application/vnd.openxmlformats-officedocument.oleObject"/>
  <Override PartName="/ppt/tags/tag7.xml" ContentType="application/vnd.openxmlformats-officedocument.presentationml.tags+xml"/>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Default Extension="vml" ContentType="application/vnd.openxmlformats-officedocument.vmlDrawing"/>
  <Override PartName="/ppt/tags/tag15.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67" r:id="rId3"/>
    <p:sldMasterId id="2147483946" r:id="rId4"/>
  </p:sldMasterIdLst>
  <p:notesMasterIdLst>
    <p:notesMasterId r:id="rId17"/>
  </p:notesMasterIdLst>
  <p:handoutMasterIdLst>
    <p:handoutMasterId r:id="rId18"/>
  </p:handoutMasterIdLst>
  <p:sldIdLst>
    <p:sldId id="357" r:id="rId5"/>
    <p:sldId id="366" r:id="rId6"/>
    <p:sldId id="367" r:id="rId7"/>
    <p:sldId id="368" r:id="rId8"/>
    <p:sldId id="370" r:id="rId9"/>
    <p:sldId id="369" r:id="rId10"/>
    <p:sldId id="364" r:id="rId11"/>
    <p:sldId id="375" r:id="rId12"/>
    <p:sldId id="365" r:id="rId13"/>
    <p:sldId id="371" r:id="rId14"/>
    <p:sldId id="373" r:id="rId15"/>
    <p:sldId id="374" r:id="rId16"/>
  </p:sldIdLst>
  <p:sldSz cx="9906000" cy="6858000" type="A4"/>
  <p:notesSz cx="6797675" cy="9926638"/>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0D6"/>
    <a:srgbClr val="0085B3"/>
    <a:srgbClr val="000000"/>
    <a:srgbClr val="A2BFAF"/>
    <a:srgbClr val="ACB7B2"/>
    <a:srgbClr val="AF1C63"/>
    <a:srgbClr val="6A9529"/>
    <a:srgbClr val="005B7C"/>
    <a:srgbClr val="909090"/>
    <a:srgbClr val="FFC7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348" autoAdjust="0"/>
    <p:restoredTop sz="75898" autoAdjust="0"/>
  </p:normalViewPr>
  <p:slideViewPr>
    <p:cSldViewPr snapToGrid="0">
      <p:cViewPr>
        <p:scale>
          <a:sx n="70" d="100"/>
          <a:sy n="70" d="100"/>
        </p:scale>
        <p:origin x="-2190" y="-72"/>
      </p:cViewPr>
      <p:guideLst>
        <p:guide orient="horz" pos="1275"/>
        <p:guide orient="horz" pos="4063"/>
        <p:guide orient="horz" pos="1362"/>
        <p:guide orient="horz" pos="3444"/>
        <p:guide pos="311"/>
        <p:guide pos="5933"/>
        <p:guide pos="1289"/>
        <p:guide pos="2087"/>
        <p:guide pos="2231"/>
        <p:guide pos="4013"/>
        <p:guide pos="41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71" d="100"/>
          <a:sy n="71" d="100"/>
        </p:scale>
        <p:origin x="-3372" y="-120"/>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5793"/>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29305"/>
            <a:ext cx="2945862" cy="495793"/>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N°›</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4" y="1"/>
            <a:ext cx="2945659" cy="496332"/>
          </a:xfrm>
          <a:prstGeom prst="rect">
            <a:avLst/>
          </a:prstGeom>
        </p:spPr>
        <p:txBody>
          <a:bodyPr vert="horz" lIns="95264" tIns="47632" rIns="95264" bIns="47632" rtlCol="0"/>
          <a:lstStyle>
            <a:lvl1pPr algn="r">
              <a:defRPr sz="1300"/>
            </a:lvl1pPr>
          </a:lstStyle>
          <a:p>
            <a:fld id="{2FB4FF29-EE9A-4D47-9F1A-289A80693C0F}" type="datetimeFigureOut">
              <a:rPr lang="en-US" smtClean="0"/>
              <a:pPr/>
              <a:t>6/2/2015</a:t>
            </a:fld>
            <a:endParaRPr lang="en-US" dirty="0"/>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715153"/>
            <a:ext cx="5438140" cy="4466988"/>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4"/>
            <a:ext cx="2945659" cy="496332"/>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5264" tIns="47632" rIns="95264" bIns="47632" rtlCol="0" anchor="b"/>
          <a:lstStyle>
            <a:lvl1pPr algn="r">
              <a:defRPr sz="1300"/>
            </a:lvl1pPr>
          </a:lstStyle>
          <a:p>
            <a:fld id="{71E7D22E-2FCF-4181-8686-08BDCDF94062}" type="slidenum">
              <a:rPr lang="en-US" smtClean="0"/>
              <a:pPr/>
              <a:t>‹N°›</a:t>
            </a:fld>
            <a:endParaRPr lang="en-US" dirty="0"/>
          </a:p>
        </p:txBody>
      </p:sp>
    </p:spTree>
  </p:cSld>
  <p:clrMap bg1="lt1" tx1="dk1" bg2="lt2" tx2="dk2" accent1="accent1" accent2="accent2" accent3="accent3" accent4="accent4" accent5="accent5" accent6="accent6" hlink="hlink" folHlink="folHlink"/>
  <p:hf hdr="0" ftr="0" dt="0"/>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sz="1200" dirty="0" smtClean="0">
              <a:solidFill>
                <a:schemeClr val="bg1"/>
              </a:solidFill>
              <a:latin typeface="Calibri" pitchFamily="34" charset="0"/>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sz="1200" dirty="0" smtClean="0">
              <a:solidFill>
                <a:schemeClr val="bg1"/>
              </a:solidFill>
              <a:latin typeface="Calibri" pitchFamily="34" charset="0"/>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3.emf"/><Relationship Id="rId3" Type="http://schemas.openxmlformats.org/officeDocument/2006/relationships/tags" Target="../tags/tag5.xml"/><Relationship Id="rId7" Type="http://schemas.openxmlformats.org/officeDocument/2006/relationships/image" Target="../media/image4.jpeg"/><Relationship Id="rId12" Type="http://schemas.openxmlformats.org/officeDocument/2006/relationships/slide" Target="../slides/slide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2.emf"/><Relationship Id="rId5" Type="http://schemas.openxmlformats.org/officeDocument/2006/relationships/tags" Target="../tags/tag7.xml"/><Relationship Id="rId10" Type="http://schemas.openxmlformats.org/officeDocument/2006/relationships/image" Target="../media/image6.emf"/><Relationship Id="rId4" Type="http://schemas.openxmlformats.org/officeDocument/2006/relationships/tags" Target="../tags/tag6.xml"/><Relationship Id="rId9"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9.xml"/><Relationship Id="rId7" Type="http://schemas.openxmlformats.org/officeDocument/2006/relationships/slide" Target="../slides/slide1.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jpeg"/><Relationship Id="rId10" Type="http://schemas.openxmlformats.org/officeDocument/2006/relationships/image" Target="../media/image5.jpeg"/><Relationship Id="rId4" Type="http://schemas.openxmlformats.org/officeDocument/2006/relationships/slideMaster" Target="../slideMasters/slideMaster1.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4.xml"/><Relationship Id="rId7" Type="http://schemas.openxmlformats.org/officeDocument/2006/relationships/slide" Target="../slides/slide1.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Group">
    <p:spTree>
      <p:nvGrpSpPr>
        <p:cNvPr id="1" name=""/>
        <p:cNvGrpSpPr/>
        <p:nvPr/>
      </p:nvGrpSpPr>
      <p:grpSpPr>
        <a:xfrm>
          <a:off x="0" y="0"/>
          <a:ext cx="0" cy="0"/>
          <a:chOff x="0" y="0"/>
          <a:chExt cx="0" cy="0"/>
        </a:xfrm>
      </p:grpSpPr>
      <p:pic>
        <p:nvPicPr>
          <p:cNvPr id="16" name="Picture 15" descr="ADM-VI.jpg"/>
          <p:cNvPicPr>
            <a:picLocks noChangeAspect="1"/>
          </p:cNvPicPr>
          <p:nvPr userDrawn="1"/>
        </p:nvPicPr>
        <p:blipFill>
          <a:blip r:embed="rId7" cstate="print"/>
          <a:srcRect l="17740" b="4430"/>
          <a:stretch>
            <a:fillRect/>
          </a:stretch>
        </p:blipFill>
        <p:spPr>
          <a:xfrm>
            <a:off x="0" y="1083733"/>
            <a:ext cx="9906000" cy="5317067"/>
          </a:xfrm>
          <a:prstGeom prst="rect">
            <a:avLst/>
          </a:prstGeom>
        </p:spPr>
      </p:pic>
      <p:sp>
        <p:nvSpPr>
          <p:cNvPr id="15" name="Freeform 19"/>
          <p:cNvSpPr>
            <a:spLocks/>
          </p:cNvSpPr>
          <p:nvPr userDrawn="1"/>
        </p:nvSpPr>
        <p:spPr bwMode="auto">
          <a:xfrm>
            <a:off x="-89" y="-68"/>
            <a:ext cx="9906089" cy="2323475"/>
          </a:xfrm>
          <a:custGeom>
            <a:avLst/>
            <a:gdLst>
              <a:gd name="connsiteX0" fmla="*/ 219 w 10000"/>
              <a:gd name="connsiteY0" fmla="*/ 1089 h 10000"/>
              <a:gd name="connsiteX1" fmla="*/ 0 w 10000"/>
              <a:gd name="connsiteY1" fmla="*/ 6808 h 10000"/>
              <a:gd name="connsiteX2" fmla="*/ 0 w 10000"/>
              <a:gd name="connsiteY2" fmla="*/ 6808 h 10000"/>
              <a:gd name="connsiteX3" fmla="*/ 39 w 10000"/>
              <a:gd name="connsiteY3" fmla="*/ 6834 h 10000"/>
              <a:gd name="connsiteX4" fmla="*/ 80 w 10000"/>
              <a:gd name="connsiteY4" fmla="*/ 6860 h 10000"/>
              <a:gd name="connsiteX5" fmla="*/ 136 w 10000"/>
              <a:gd name="connsiteY5" fmla="*/ 6898 h 10000"/>
              <a:gd name="connsiteX6" fmla="*/ 205 w 10000"/>
              <a:gd name="connsiteY6" fmla="*/ 6963 h 10000"/>
              <a:gd name="connsiteX7" fmla="*/ 282 w 10000"/>
              <a:gd name="connsiteY7" fmla="*/ 7053 h 10000"/>
              <a:gd name="connsiteX8" fmla="*/ 368 w 10000"/>
              <a:gd name="connsiteY8" fmla="*/ 7169 h 10000"/>
              <a:gd name="connsiteX9" fmla="*/ 457 w 10000"/>
              <a:gd name="connsiteY9" fmla="*/ 7310 h 10000"/>
              <a:gd name="connsiteX10" fmla="*/ 552 w 10000"/>
              <a:gd name="connsiteY10" fmla="*/ 7490 h 10000"/>
              <a:gd name="connsiteX11" fmla="*/ 596 w 10000"/>
              <a:gd name="connsiteY11" fmla="*/ 7593 h 10000"/>
              <a:gd name="connsiteX12" fmla="*/ 644 w 10000"/>
              <a:gd name="connsiteY12" fmla="*/ 7709 h 10000"/>
              <a:gd name="connsiteX13" fmla="*/ 691 w 10000"/>
              <a:gd name="connsiteY13" fmla="*/ 7838 h 10000"/>
              <a:gd name="connsiteX14" fmla="*/ 736 w 10000"/>
              <a:gd name="connsiteY14" fmla="*/ 7967 h 10000"/>
              <a:gd name="connsiteX15" fmla="*/ 780 w 10000"/>
              <a:gd name="connsiteY15" fmla="*/ 8121 h 10000"/>
              <a:gd name="connsiteX16" fmla="*/ 825 w 10000"/>
              <a:gd name="connsiteY16" fmla="*/ 8275 h 10000"/>
              <a:gd name="connsiteX17" fmla="*/ 866 w 10000"/>
              <a:gd name="connsiteY17" fmla="*/ 8443 h 10000"/>
              <a:gd name="connsiteX18" fmla="*/ 908 w 10000"/>
              <a:gd name="connsiteY18" fmla="*/ 8623 h 10000"/>
              <a:gd name="connsiteX19" fmla="*/ 947 w 10000"/>
              <a:gd name="connsiteY19" fmla="*/ 8816 h 10000"/>
              <a:gd name="connsiteX20" fmla="*/ 982 w 10000"/>
              <a:gd name="connsiteY20" fmla="*/ 9022 h 10000"/>
              <a:gd name="connsiteX21" fmla="*/ 1015 w 10000"/>
              <a:gd name="connsiteY21" fmla="*/ 9254 h 10000"/>
              <a:gd name="connsiteX22" fmla="*/ 1047 w 10000"/>
              <a:gd name="connsiteY22" fmla="*/ 9485 h 10000"/>
              <a:gd name="connsiteX23" fmla="*/ 1074 w 10000"/>
              <a:gd name="connsiteY23" fmla="*/ 9743 h 10000"/>
              <a:gd name="connsiteX24" fmla="*/ 1101 w 10000"/>
              <a:gd name="connsiteY24" fmla="*/ 10000 h 10000"/>
              <a:gd name="connsiteX25" fmla="*/ 1101 w 10000"/>
              <a:gd name="connsiteY25" fmla="*/ 10000 h 10000"/>
              <a:gd name="connsiteX26" fmla="*/ 1113 w 10000"/>
              <a:gd name="connsiteY26" fmla="*/ 9884 h 10000"/>
              <a:gd name="connsiteX27" fmla="*/ 1131 w 10000"/>
              <a:gd name="connsiteY27" fmla="*/ 9743 h 10000"/>
              <a:gd name="connsiteX28" fmla="*/ 1157 w 10000"/>
              <a:gd name="connsiteY28" fmla="*/ 9562 h 10000"/>
              <a:gd name="connsiteX29" fmla="*/ 1190 w 10000"/>
              <a:gd name="connsiteY29" fmla="*/ 9344 h 10000"/>
              <a:gd name="connsiteX30" fmla="*/ 1231 w 10000"/>
              <a:gd name="connsiteY30" fmla="*/ 9112 h 10000"/>
              <a:gd name="connsiteX31" fmla="*/ 1282 w 10000"/>
              <a:gd name="connsiteY31" fmla="*/ 8842 h 10000"/>
              <a:gd name="connsiteX32" fmla="*/ 1338 w 10000"/>
              <a:gd name="connsiteY32" fmla="*/ 8571 h 10000"/>
              <a:gd name="connsiteX33" fmla="*/ 1404 w 10000"/>
              <a:gd name="connsiteY33" fmla="*/ 8301 h 10000"/>
              <a:gd name="connsiteX34" fmla="*/ 1442 w 10000"/>
              <a:gd name="connsiteY34" fmla="*/ 8160 h 10000"/>
              <a:gd name="connsiteX35" fmla="*/ 1481 w 10000"/>
              <a:gd name="connsiteY35" fmla="*/ 8031 h 10000"/>
              <a:gd name="connsiteX36" fmla="*/ 1519 w 10000"/>
              <a:gd name="connsiteY36" fmla="*/ 7902 h 10000"/>
              <a:gd name="connsiteX37" fmla="*/ 1564 w 10000"/>
              <a:gd name="connsiteY37" fmla="*/ 7773 h 10000"/>
              <a:gd name="connsiteX38" fmla="*/ 1608 w 10000"/>
              <a:gd name="connsiteY38" fmla="*/ 7645 h 10000"/>
              <a:gd name="connsiteX39" fmla="*/ 1659 w 10000"/>
              <a:gd name="connsiteY39" fmla="*/ 7529 h 10000"/>
              <a:gd name="connsiteX40" fmla="*/ 1706 w 10000"/>
              <a:gd name="connsiteY40" fmla="*/ 7413 h 10000"/>
              <a:gd name="connsiteX41" fmla="*/ 1760 w 10000"/>
              <a:gd name="connsiteY41" fmla="*/ 7310 h 10000"/>
              <a:gd name="connsiteX42" fmla="*/ 1816 w 10000"/>
              <a:gd name="connsiteY42" fmla="*/ 7220 h 10000"/>
              <a:gd name="connsiteX43" fmla="*/ 1872 w 10000"/>
              <a:gd name="connsiteY43" fmla="*/ 7130 h 10000"/>
              <a:gd name="connsiteX44" fmla="*/ 1932 w 10000"/>
              <a:gd name="connsiteY44" fmla="*/ 7066 h 10000"/>
              <a:gd name="connsiteX45" fmla="*/ 1997 w 10000"/>
              <a:gd name="connsiteY45" fmla="*/ 7001 h 10000"/>
              <a:gd name="connsiteX46" fmla="*/ 2062 w 10000"/>
              <a:gd name="connsiteY46" fmla="*/ 6950 h 10000"/>
              <a:gd name="connsiteX47" fmla="*/ 2128 w 10000"/>
              <a:gd name="connsiteY47" fmla="*/ 6911 h 10000"/>
              <a:gd name="connsiteX48" fmla="*/ 9012 w 10000"/>
              <a:gd name="connsiteY48" fmla="*/ 6911 h 10000"/>
              <a:gd name="connsiteX49" fmla="*/ 9012 w 10000"/>
              <a:gd name="connsiteY49" fmla="*/ 6911 h 10000"/>
              <a:gd name="connsiteX50" fmla="*/ 9039 w 10000"/>
              <a:gd name="connsiteY50" fmla="*/ 6911 h 10000"/>
              <a:gd name="connsiteX51" fmla="*/ 9071 w 10000"/>
              <a:gd name="connsiteY51" fmla="*/ 6911 h 10000"/>
              <a:gd name="connsiteX52" fmla="*/ 9110 w 10000"/>
              <a:gd name="connsiteY52" fmla="*/ 6898 h 10000"/>
              <a:gd name="connsiteX53" fmla="*/ 9163 w 10000"/>
              <a:gd name="connsiteY53" fmla="*/ 6873 h 10000"/>
              <a:gd name="connsiteX54" fmla="*/ 9220 w 10000"/>
              <a:gd name="connsiteY54" fmla="*/ 6821 h 10000"/>
              <a:gd name="connsiteX55" fmla="*/ 9285 w 10000"/>
              <a:gd name="connsiteY55" fmla="*/ 6757 h 10000"/>
              <a:gd name="connsiteX56" fmla="*/ 9356 w 10000"/>
              <a:gd name="connsiteY56" fmla="*/ 6654 h 10000"/>
              <a:gd name="connsiteX57" fmla="*/ 9433 w 10000"/>
              <a:gd name="connsiteY57" fmla="*/ 6512 h 10000"/>
              <a:gd name="connsiteX58" fmla="*/ 9472 w 10000"/>
              <a:gd name="connsiteY58" fmla="*/ 6422 h 10000"/>
              <a:gd name="connsiteX59" fmla="*/ 9510 w 10000"/>
              <a:gd name="connsiteY59" fmla="*/ 6332 h 10000"/>
              <a:gd name="connsiteX60" fmla="*/ 9552 w 10000"/>
              <a:gd name="connsiteY60" fmla="*/ 6229 h 10000"/>
              <a:gd name="connsiteX61" fmla="*/ 9593 w 10000"/>
              <a:gd name="connsiteY61" fmla="*/ 6113 h 10000"/>
              <a:gd name="connsiteX62" fmla="*/ 9635 w 10000"/>
              <a:gd name="connsiteY62" fmla="*/ 5985 h 10000"/>
              <a:gd name="connsiteX63" fmla="*/ 9677 w 10000"/>
              <a:gd name="connsiteY63" fmla="*/ 5843 h 10000"/>
              <a:gd name="connsiteX64" fmla="*/ 9718 w 10000"/>
              <a:gd name="connsiteY64" fmla="*/ 5689 h 10000"/>
              <a:gd name="connsiteX65" fmla="*/ 9757 w 10000"/>
              <a:gd name="connsiteY65" fmla="*/ 5521 h 10000"/>
              <a:gd name="connsiteX66" fmla="*/ 9798 w 10000"/>
              <a:gd name="connsiteY66" fmla="*/ 5328 h 10000"/>
              <a:gd name="connsiteX67" fmla="*/ 9840 w 10000"/>
              <a:gd name="connsiteY67" fmla="*/ 5135 h 10000"/>
              <a:gd name="connsiteX68" fmla="*/ 9878 w 10000"/>
              <a:gd name="connsiteY68" fmla="*/ 4916 h 10000"/>
              <a:gd name="connsiteX69" fmla="*/ 9917 w 10000"/>
              <a:gd name="connsiteY69" fmla="*/ 4685 h 10000"/>
              <a:gd name="connsiteX70" fmla="*/ 9955 w 10000"/>
              <a:gd name="connsiteY70" fmla="*/ 4440 h 10000"/>
              <a:gd name="connsiteX71" fmla="*/ 9994 w 10000"/>
              <a:gd name="connsiteY71" fmla="*/ 4170 h 10000"/>
              <a:gd name="connsiteX72" fmla="*/ 10000 w 10000"/>
              <a:gd name="connsiteY72" fmla="*/ 0 h 10000"/>
              <a:gd name="connsiteX73" fmla="*/ 219 w 10000"/>
              <a:gd name="connsiteY73" fmla="*/ 1089 h 10000"/>
              <a:gd name="connsiteX0" fmla="*/ 0 w 10003"/>
              <a:gd name="connsiteY0" fmla="*/ 316 h 10000"/>
              <a:gd name="connsiteX1" fmla="*/ 3 w 10003"/>
              <a:gd name="connsiteY1" fmla="*/ 6808 h 10000"/>
              <a:gd name="connsiteX2" fmla="*/ 3 w 10003"/>
              <a:gd name="connsiteY2" fmla="*/ 6808 h 10000"/>
              <a:gd name="connsiteX3" fmla="*/ 42 w 10003"/>
              <a:gd name="connsiteY3" fmla="*/ 6834 h 10000"/>
              <a:gd name="connsiteX4" fmla="*/ 83 w 10003"/>
              <a:gd name="connsiteY4" fmla="*/ 6860 h 10000"/>
              <a:gd name="connsiteX5" fmla="*/ 139 w 10003"/>
              <a:gd name="connsiteY5" fmla="*/ 6898 h 10000"/>
              <a:gd name="connsiteX6" fmla="*/ 208 w 10003"/>
              <a:gd name="connsiteY6" fmla="*/ 6963 h 10000"/>
              <a:gd name="connsiteX7" fmla="*/ 285 w 10003"/>
              <a:gd name="connsiteY7" fmla="*/ 7053 h 10000"/>
              <a:gd name="connsiteX8" fmla="*/ 371 w 10003"/>
              <a:gd name="connsiteY8" fmla="*/ 7169 h 10000"/>
              <a:gd name="connsiteX9" fmla="*/ 460 w 10003"/>
              <a:gd name="connsiteY9" fmla="*/ 7310 h 10000"/>
              <a:gd name="connsiteX10" fmla="*/ 555 w 10003"/>
              <a:gd name="connsiteY10" fmla="*/ 7490 h 10000"/>
              <a:gd name="connsiteX11" fmla="*/ 599 w 10003"/>
              <a:gd name="connsiteY11" fmla="*/ 7593 h 10000"/>
              <a:gd name="connsiteX12" fmla="*/ 647 w 10003"/>
              <a:gd name="connsiteY12" fmla="*/ 7709 h 10000"/>
              <a:gd name="connsiteX13" fmla="*/ 694 w 10003"/>
              <a:gd name="connsiteY13" fmla="*/ 7838 h 10000"/>
              <a:gd name="connsiteX14" fmla="*/ 739 w 10003"/>
              <a:gd name="connsiteY14" fmla="*/ 7967 h 10000"/>
              <a:gd name="connsiteX15" fmla="*/ 783 w 10003"/>
              <a:gd name="connsiteY15" fmla="*/ 8121 h 10000"/>
              <a:gd name="connsiteX16" fmla="*/ 828 w 10003"/>
              <a:gd name="connsiteY16" fmla="*/ 8275 h 10000"/>
              <a:gd name="connsiteX17" fmla="*/ 869 w 10003"/>
              <a:gd name="connsiteY17" fmla="*/ 8443 h 10000"/>
              <a:gd name="connsiteX18" fmla="*/ 911 w 10003"/>
              <a:gd name="connsiteY18" fmla="*/ 8623 h 10000"/>
              <a:gd name="connsiteX19" fmla="*/ 950 w 10003"/>
              <a:gd name="connsiteY19" fmla="*/ 8816 h 10000"/>
              <a:gd name="connsiteX20" fmla="*/ 985 w 10003"/>
              <a:gd name="connsiteY20" fmla="*/ 9022 h 10000"/>
              <a:gd name="connsiteX21" fmla="*/ 1018 w 10003"/>
              <a:gd name="connsiteY21" fmla="*/ 9254 h 10000"/>
              <a:gd name="connsiteX22" fmla="*/ 1050 w 10003"/>
              <a:gd name="connsiteY22" fmla="*/ 9485 h 10000"/>
              <a:gd name="connsiteX23" fmla="*/ 1077 w 10003"/>
              <a:gd name="connsiteY23" fmla="*/ 9743 h 10000"/>
              <a:gd name="connsiteX24" fmla="*/ 1104 w 10003"/>
              <a:gd name="connsiteY24" fmla="*/ 10000 h 10000"/>
              <a:gd name="connsiteX25" fmla="*/ 1104 w 10003"/>
              <a:gd name="connsiteY25" fmla="*/ 10000 h 10000"/>
              <a:gd name="connsiteX26" fmla="*/ 1116 w 10003"/>
              <a:gd name="connsiteY26" fmla="*/ 9884 h 10000"/>
              <a:gd name="connsiteX27" fmla="*/ 1134 w 10003"/>
              <a:gd name="connsiteY27" fmla="*/ 9743 h 10000"/>
              <a:gd name="connsiteX28" fmla="*/ 1160 w 10003"/>
              <a:gd name="connsiteY28" fmla="*/ 9562 h 10000"/>
              <a:gd name="connsiteX29" fmla="*/ 1193 w 10003"/>
              <a:gd name="connsiteY29" fmla="*/ 9344 h 10000"/>
              <a:gd name="connsiteX30" fmla="*/ 1234 w 10003"/>
              <a:gd name="connsiteY30" fmla="*/ 9112 h 10000"/>
              <a:gd name="connsiteX31" fmla="*/ 1285 w 10003"/>
              <a:gd name="connsiteY31" fmla="*/ 8842 h 10000"/>
              <a:gd name="connsiteX32" fmla="*/ 1341 w 10003"/>
              <a:gd name="connsiteY32" fmla="*/ 8571 h 10000"/>
              <a:gd name="connsiteX33" fmla="*/ 1407 w 10003"/>
              <a:gd name="connsiteY33" fmla="*/ 8301 h 10000"/>
              <a:gd name="connsiteX34" fmla="*/ 1445 w 10003"/>
              <a:gd name="connsiteY34" fmla="*/ 8160 h 10000"/>
              <a:gd name="connsiteX35" fmla="*/ 1484 w 10003"/>
              <a:gd name="connsiteY35" fmla="*/ 8031 h 10000"/>
              <a:gd name="connsiteX36" fmla="*/ 1522 w 10003"/>
              <a:gd name="connsiteY36" fmla="*/ 7902 h 10000"/>
              <a:gd name="connsiteX37" fmla="*/ 1567 w 10003"/>
              <a:gd name="connsiteY37" fmla="*/ 7773 h 10000"/>
              <a:gd name="connsiteX38" fmla="*/ 1611 w 10003"/>
              <a:gd name="connsiteY38" fmla="*/ 7645 h 10000"/>
              <a:gd name="connsiteX39" fmla="*/ 1662 w 10003"/>
              <a:gd name="connsiteY39" fmla="*/ 7529 h 10000"/>
              <a:gd name="connsiteX40" fmla="*/ 1709 w 10003"/>
              <a:gd name="connsiteY40" fmla="*/ 7413 h 10000"/>
              <a:gd name="connsiteX41" fmla="*/ 1763 w 10003"/>
              <a:gd name="connsiteY41" fmla="*/ 7310 h 10000"/>
              <a:gd name="connsiteX42" fmla="*/ 1819 w 10003"/>
              <a:gd name="connsiteY42" fmla="*/ 7220 h 10000"/>
              <a:gd name="connsiteX43" fmla="*/ 1875 w 10003"/>
              <a:gd name="connsiteY43" fmla="*/ 7130 h 10000"/>
              <a:gd name="connsiteX44" fmla="*/ 1935 w 10003"/>
              <a:gd name="connsiteY44" fmla="*/ 7066 h 10000"/>
              <a:gd name="connsiteX45" fmla="*/ 2000 w 10003"/>
              <a:gd name="connsiteY45" fmla="*/ 7001 h 10000"/>
              <a:gd name="connsiteX46" fmla="*/ 2065 w 10003"/>
              <a:gd name="connsiteY46" fmla="*/ 6950 h 10000"/>
              <a:gd name="connsiteX47" fmla="*/ 2131 w 10003"/>
              <a:gd name="connsiteY47" fmla="*/ 6911 h 10000"/>
              <a:gd name="connsiteX48" fmla="*/ 9015 w 10003"/>
              <a:gd name="connsiteY48" fmla="*/ 6911 h 10000"/>
              <a:gd name="connsiteX49" fmla="*/ 9015 w 10003"/>
              <a:gd name="connsiteY49" fmla="*/ 6911 h 10000"/>
              <a:gd name="connsiteX50" fmla="*/ 9042 w 10003"/>
              <a:gd name="connsiteY50" fmla="*/ 6911 h 10000"/>
              <a:gd name="connsiteX51" fmla="*/ 9074 w 10003"/>
              <a:gd name="connsiteY51" fmla="*/ 6911 h 10000"/>
              <a:gd name="connsiteX52" fmla="*/ 9113 w 10003"/>
              <a:gd name="connsiteY52" fmla="*/ 6898 h 10000"/>
              <a:gd name="connsiteX53" fmla="*/ 9166 w 10003"/>
              <a:gd name="connsiteY53" fmla="*/ 6873 h 10000"/>
              <a:gd name="connsiteX54" fmla="*/ 9223 w 10003"/>
              <a:gd name="connsiteY54" fmla="*/ 6821 h 10000"/>
              <a:gd name="connsiteX55" fmla="*/ 9288 w 10003"/>
              <a:gd name="connsiteY55" fmla="*/ 6757 h 10000"/>
              <a:gd name="connsiteX56" fmla="*/ 9359 w 10003"/>
              <a:gd name="connsiteY56" fmla="*/ 6654 h 10000"/>
              <a:gd name="connsiteX57" fmla="*/ 9436 w 10003"/>
              <a:gd name="connsiteY57" fmla="*/ 6512 h 10000"/>
              <a:gd name="connsiteX58" fmla="*/ 9475 w 10003"/>
              <a:gd name="connsiteY58" fmla="*/ 6422 h 10000"/>
              <a:gd name="connsiteX59" fmla="*/ 9513 w 10003"/>
              <a:gd name="connsiteY59" fmla="*/ 6332 h 10000"/>
              <a:gd name="connsiteX60" fmla="*/ 9555 w 10003"/>
              <a:gd name="connsiteY60" fmla="*/ 6229 h 10000"/>
              <a:gd name="connsiteX61" fmla="*/ 9596 w 10003"/>
              <a:gd name="connsiteY61" fmla="*/ 6113 h 10000"/>
              <a:gd name="connsiteX62" fmla="*/ 9638 w 10003"/>
              <a:gd name="connsiteY62" fmla="*/ 5985 h 10000"/>
              <a:gd name="connsiteX63" fmla="*/ 9680 w 10003"/>
              <a:gd name="connsiteY63" fmla="*/ 5843 h 10000"/>
              <a:gd name="connsiteX64" fmla="*/ 9721 w 10003"/>
              <a:gd name="connsiteY64" fmla="*/ 5689 h 10000"/>
              <a:gd name="connsiteX65" fmla="*/ 9760 w 10003"/>
              <a:gd name="connsiteY65" fmla="*/ 5521 h 10000"/>
              <a:gd name="connsiteX66" fmla="*/ 9801 w 10003"/>
              <a:gd name="connsiteY66" fmla="*/ 5328 h 10000"/>
              <a:gd name="connsiteX67" fmla="*/ 9843 w 10003"/>
              <a:gd name="connsiteY67" fmla="*/ 5135 h 10000"/>
              <a:gd name="connsiteX68" fmla="*/ 9881 w 10003"/>
              <a:gd name="connsiteY68" fmla="*/ 4916 h 10000"/>
              <a:gd name="connsiteX69" fmla="*/ 9920 w 10003"/>
              <a:gd name="connsiteY69" fmla="*/ 4685 h 10000"/>
              <a:gd name="connsiteX70" fmla="*/ 9958 w 10003"/>
              <a:gd name="connsiteY70" fmla="*/ 4440 h 10000"/>
              <a:gd name="connsiteX71" fmla="*/ 9997 w 10003"/>
              <a:gd name="connsiteY71" fmla="*/ 4170 h 10000"/>
              <a:gd name="connsiteX72" fmla="*/ 10003 w 10003"/>
              <a:gd name="connsiteY72" fmla="*/ 0 h 10000"/>
              <a:gd name="connsiteX73" fmla="*/ 0 w 10003"/>
              <a:gd name="connsiteY73" fmla="*/ 316 h 10000"/>
              <a:gd name="connsiteX0" fmla="*/ 0 w 9997"/>
              <a:gd name="connsiteY0" fmla="*/ 0 h 9684"/>
              <a:gd name="connsiteX1" fmla="*/ 3 w 9997"/>
              <a:gd name="connsiteY1" fmla="*/ 6492 h 9684"/>
              <a:gd name="connsiteX2" fmla="*/ 3 w 9997"/>
              <a:gd name="connsiteY2" fmla="*/ 6492 h 9684"/>
              <a:gd name="connsiteX3" fmla="*/ 42 w 9997"/>
              <a:gd name="connsiteY3" fmla="*/ 6518 h 9684"/>
              <a:gd name="connsiteX4" fmla="*/ 83 w 9997"/>
              <a:gd name="connsiteY4" fmla="*/ 6544 h 9684"/>
              <a:gd name="connsiteX5" fmla="*/ 139 w 9997"/>
              <a:gd name="connsiteY5" fmla="*/ 6582 h 9684"/>
              <a:gd name="connsiteX6" fmla="*/ 208 w 9997"/>
              <a:gd name="connsiteY6" fmla="*/ 6647 h 9684"/>
              <a:gd name="connsiteX7" fmla="*/ 285 w 9997"/>
              <a:gd name="connsiteY7" fmla="*/ 6737 h 9684"/>
              <a:gd name="connsiteX8" fmla="*/ 371 w 9997"/>
              <a:gd name="connsiteY8" fmla="*/ 6853 h 9684"/>
              <a:gd name="connsiteX9" fmla="*/ 460 w 9997"/>
              <a:gd name="connsiteY9" fmla="*/ 6994 h 9684"/>
              <a:gd name="connsiteX10" fmla="*/ 555 w 9997"/>
              <a:gd name="connsiteY10" fmla="*/ 7174 h 9684"/>
              <a:gd name="connsiteX11" fmla="*/ 599 w 9997"/>
              <a:gd name="connsiteY11" fmla="*/ 7277 h 9684"/>
              <a:gd name="connsiteX12" fmla="*/ 647 w 9997"/>
              <a:gd name="connsiteY12" fmla="*/ 7393 h 9684"/>
              <a:gd name="connsiteX13" fmla="*/ 694 w 9997"/>
              <a:gd name="connsiteY13" fmla="*/ 7522 h 9684"/>
              <a:gd name="connsiteX14" fmla="*/ 739 w 9997"/>
              <a:gd name="connsiteY14" fmla="*/ 7651 h 9684"/>
              <a:gd name="connsiteX15" fmla="*/ 783 w 9997"/>
              <a:gd name="connsiteY15" fmla="*/ 7805 h 9684"/>
              <a:gd name="connsiteX16" fmla="*/ 828 w 9997"/>
              <a:gd name="connsiteY16" fmla="*/ 7959 h 9684"/>
              <a:gd name="connsiteX17" fmla="*/ 869 w 9997"/>
              <a:gd name="connsiteY17" fmla="*/ 8127 h 9684"/>
              <a:gd name="connsiteX18" fmla="*/ 911 w 9997"/>
              <a:gd name="connsiteY18" fmla="*/ 8307 h 9684"/>
              <a:gd name="connsiteX19" fmla="*/ 950 w 9997"/>
              <a:gd name="connsiteY19" fmla="*/ 8500 h 9684"/>
              <a:gd name="connsiteX20" fmla="*/ 985 w 9997"/>
              <a:gd name="connsiteY20" fmla="*/ 8706 h 9684"/>
              <a:gd name="connsiteX21" fmla="*/ 1018 w 9997"/>
              <a:gd name="connsiteY21" fmla="*/ 8938 h 9684"/>
              <a:gd name="connsiteX22" fmla="*/ 1050 w 9997"/>
              <a:gd name="connsiteY22" fmla="*/ 9169 h 9684"/>
              <a:gd name="connsiteX23" fmla="*/ 1077 w 9997"/>
              <a:gd name="connsiteY23" fmla="*/ 9427 h 9684"/>
              <a:gd name="connsiteX24" fmla="*/ 1104 w 9997"/>
              <a:gd name="connsiteY24" fmla="*/ 9684 h 9684"/>
              <a:gd name="connsiteX25" fmla="*/ 1104 w 9997"/>
              <a:gd name="connsiteY25" fmla="*/ 9684 h 9684"/>
              <a:gd name="connsiteX26" fmla="*/ 1116 w 9997"/>
              <a:gd name="connsiteY26" fmla="*/ 9568 h 9684"/>
              <a:gd name="connsiteX27" fmla="*/ 1134 w 9997"/>
              <a:gd name="connsiteY27" fmla="*/ 9427 h 9684"/>
              <a:gd name="connsiteX28" fmla="*/ 1160 w 9997"/>
              <a:gd name="connsiteY28" fmla="*/ 9246 h 9684"/>
              <a:gd name="connsiteX29" fmla="*/ 1193 w 9997"/>
              <a:gd name="connsiteY29" fmla="*/ 9028 h 9684"/>
              <a:gd name="connsiteX30" fmla="*/ 1234 w 9997"/>
              <a:gd name="connsiteY30" fmla="*/ 8796 h 9684"/>
              <a:gd name="connsiteX31" fmla="*/ 1285 w 9997"/>
              <a:gd name="connsiteY31" fmla="*/ 8526 h 9684"/>
              <a:gd name="connsiteX32" fmla="*/ 1341 w 9997"/>
              <a:gd name="connsiteY32" fmla="*/ 8255 h 9684"/>
              <a:gd name="connsiteX33" fmla="*/ 1407 w 9997"/>
              <a:gd name="connsiteY33" fmla="*/ 7985 h 9684"/>
              <a:gd name="connsiteX34" fmla="*/ 1445 w 9997"/>
              <a:gd name="connsiteY34" fmla="*/ 7844 h 9684"/>
              <a:gd name="connsiteX35" fmla="*/ 1484 w 9997"/>
              <a:gd name="connsiteY35" fmla="*/ 7715 h 9684"/>
              <a:gd name="connsiteX36" fmla="*/ 1522 w 9997"/>
              <a:gd name="connsiteY36" fmla="*/ 7586 h 9684"/>
              <a:gd name="connsiteX37" fmla="*/ 1567 w 9997"/>
              <a:gd name="connsiteY37" fmla="*/ 7457 h 9684"/>
              <a:gd name="connsiteX38" fmla="*/ 1611 w 9997"/>
              <a:gd name="connsiteY38" fmla="*/ 7329 h 9684"/>
              <a:gd name="connsiteX39" fmla="*/ 1662 w 9997"/>
              <a:gd name="connsiteY39" fmla="*/ 7213 h 9684"/>
              <a:gd name="connsiteX40" fmla="*/ 1709 w 9997"/>
              <a:gd name="connsiteY40" fmla="*/ 7097 h 9684"/>
              <a:gd name="connsiteX41" fmla="*/ 1763 w 9997"/>
              <a:gd name="connsiteY41" fmla="*/ 6994 h 9684"/>
              <a:gd name="connsiteX42" fmla="*/ 1819 w 9997"/>
              <a:gd name="connsiteY42" fmla="*/ 6904 h 9684"/>
              <a:gd name="connsiteX43" fmla="*/ 1875 w 9997"/>
              <a:gd name="connsiteY43" fmla="*/ 6814 h 9684"/>
              <a:gd name="connsiteX44" fmla="*/ 1935 w 9997"/>
              <a:gd name="connsiteY44" fmla="*/ 6750 h 9684"/>
              <a:gd name="connsiteX45" fmla="*/ 2000 w 9997"/>
              <a:gd name="connsiteY45" fmla="*/ 6685 h 9684"/>
              <a:gd name="connsiteX46" fmla="*/ 2065 w 9997"/>
              <a:gd name="connsiteY46" fmla="*/ 6634 h 9684"/>
              <a:gd name="connsiteX47" fmla="*/ 2131 w 9997"/>
              <a:gd name="connsiteY47" fmla="*/ 6595 h 9684"/>
              <a:gd name="connsiteX48" fmla="*/ 9015 w 9997"/>
              <a:gd name="connsiteY48" fmla="*/ 6595 h 9684"/>
              <a:gd name="connsiteX49" fmla="*/ 9015 w 9997"/>
              <a:gd name="connsiteY49" fmla="*/ 6595 h 9684"/>
              <a:gd name="connsiteX50" fmla="*/ 9042 w 9997"/>
              <a:gd name="connsiteY50" fmla="*/ 6595 h 9684"/>
              <a:gd name="connsiteX51" fmla="*/ 9074 w 9997"/>
              <a:gd name="connsiteY51" fmla="*/ 6595 h 9684"/>
              <a:gd name="connsiteX52" fmla="*/ 9113 w 9997"/>
              <a:gd name="connsiteY52" fmla="*/ 6582 h 9684"/>
              <a:gd name="connsiteX53" fmla="*/ 9166 w 9997"/>
              <a:gd name="connsiteY53" fmla="*/ 6557 h 9684"/>
              <a:gd name="connsiteX54" fmla="*/ 9223 w 9997"/>
              <a:gd name="connsiteY54" fmla="*/ 6505 h 9684"/>
              <a:gd name="connsiteX55" fmla="*/ 9288 w 9997"/>
              <a:gd name="connsiteY55" fmla="*/ 6441 h 9684"/>
              <a:gd name="connsiteX56" fmla="*/ 9359 w 9997"/>
              <a:gd name="connsiteY56" fmla="*/ 6338 h 9684"/>
              <a:gd name="connsiteX57" fmla="*/ 9436 w 9997"/>
              <a:gd name="connsiteY57" fmla="*/ 6196 h 9684"/>
              <a:gd name="connsiteX58" fmla="*/ 9475 w 9997"/>
              <a:gd name="connsiteY58" fmla="*/ 6106 h 9684"/>
              <a:gd name="connsiteX59" fmla="*/ 9513 w 9997"/>
              <a:gd name="connsiteY59" fmla="*/ 6016 h 9684"/>
              <a:gd name="connsiteX60" fmla="*/ 9555 w 9997"/>
              <a:gd name="connsiteY60" fmla="*/ 5913 h 9684"/>
              <a:gd name="connsiteX61" fmla="*/ 9596 w 9997"/>
              <a:gd name="connsiteY61" fmla="*/ 5797 h 9684"/>
              <a:gd name="connsiteX62" fmla="*/ 9638 w 9997"/>
              <a:gd name="connsiteY62" fmla="*/ 5669 h 9684"/>
              <a:gd name="connsiteX63" fmla="*/ 9680 w 9997"/>
              <a:gd name="connsiteY63" fmla="*/ 5527 h 9684"/>
              <a:gd name="connsiteX64" fmla="*/ 9721 w 9997"/>
              <a:gd name="connsiteY64" fmla="*/ 5373 h 9684"/>
              <a:gd name="connsiteX65" fmla="*/ 9760 w 9997"/>
              <a:gd name="connsiteY65" fmla="*/ 5205 h 9684"/>
              <a:gd name="connsiteX66" fmla="*/ 9801 w 9997"/>
              <a:gd name="connsiteY66" fmla="*/ 5012 h 9684"/>
              <a:gd name="connsiteX67" fmla="*/ 9843 w 9997"/>
              <a:gd name="connsiteY67" fmla="*/ 4819 h 9684"/>
              <a:gd name="connsiteX68" fmla="*/ 9881 w 9997"/>
              <a:gd name="connsiteY68" fmla="*/ 4600 h 9684"/>
              <a:gd name="connsiteX69" fmla="*/ 9920 w 9997"/>
              <a:gd name="connsiteY69" fmla="*/ 4369 h 9684"/>
              <a:gd name="connsiteX70" fmla="*/ 9958 w 9997"/>
              <a:gd name="connsiteY70" fmla="*/ 4124 h 9684"/>
              <a:gd name="connsiteX71" fmla="*/ 9997 w 9997"/>
              <a:gd name="connsiteY71" fmla="*/ 3854 h 9684"/>
              <a:gd name="connsiteX72" fmla="*/ 9736 w 9997"/>
              <a:gd name="connsiteY72" fmla="*/ 0 h 9684"/>
              <a:gd name="connsiteX73" fmla="*/ 0 w 9997"/>
              <a:gd name="connsiteY73" fmla="*/ 0 h 9684"/>
              <a:gd name="connsiteX0" fmla="*/ 0 w 10006"/>
              <a:gd name="connsiteY0" fmla="*/ 0 h 10000"/>
              <a:gd name="connsiteX1" fmla="*/ 3 w 10006"/>
              <a:gd name="connsiteY1" fmla="*/ 6704 h 10000"/>
              <a:gd name="connsiteX2" fmla="*/ 3 w 10006"/>
              <a:gd name="connsiteY2" fmla="*/ 6704 h 10000"/>
              <a:gd name="connsiteX3" fmla="*/ 42 w 10006"/>
              <a:gd name="connsiteY3" fmla="*/ 6731 h 10000"/>
              <a:gd name="connsiteX4" fmla="*/ 83 w 10006"/>
              <a:gd name="connsiteY4" fmla="*/ 6758 h 10000"/>
              <a:gd name="connsiteX5" fmla="*/ 139 w 10006"/>
              <a:gd name="connsiteY5" fmla="*/ 6797 h 10000"/>
              <a:gd name="connsiteX6" fmla="*/ 208 w 10006"/>
              <a:gd name="connsiteY6" fmla="*/ 6864 h 10000"/>
              <a:gd name="connsiteX7" fmla="*/ 285 w 10006"/>
              <a:gd name="connsiteY7" fmla="*/ 6957 h 10000"/>
              <a:gd name="connsiteX8" fmla="*/ 371 w 10006"/>
              <a:gd name="connsiteY8" fmla="*/ 7077 h 10000"/>
              <a:gd name="connsiteX9" fmla="*/ 460 w 10006"/>
              <a:gd name="connsiteY9" fmla="*/ 7222 h 10000"/>
              <a:gd name="connsiteX10" fmla="*/ 555 w 10006"/>
              <a:gd name="connsiteY10" fmla="*/ 7408 h 10000"/>
              <a:gd name="connsiteX11" fmla="*/ 599 w 10006"/>
              <a:gd name="connsiteY11" fmla="*/ 7514 h 10000"/>
              <a:gd name="connsiteX12" fmla="*/ 647 w 10006"/>
              <a:gd name="connsiteY12" fmla="*/ 7634 h 10000"/>
              <a:gd name="connsiteX13" fmla="*/ 694 w 10006"/>
              <a:gd name="connsiteY13" fmla="*/ 7767 h 10000"/>
              <a:gd name="connsiteX14" fmla="*/ 739 w 10006"/>
              <a:gd name="connsiteY14" fmla="*/ 7901 h 10000"/>
              <a:gd name="connsiteX15" fmla="*/ 783 w 10006"/>
              <a:gd name="connsiteY15" fmla="*/ 8060 h 10000"/>
              <a:gd name="connsiteX16" fmla="*/ 828 w 10006"/>
              <a:gd name="connsiteY16" fmla="*/ 8219 h 10000"/>
              <a:gd name="connsiteX17" fmla="*/ 869 w 10006"/>
              <a:gd name="connsiteY17" fmla="*/ 8392 h 10000"/>
              <a:gd name="connsiteX18" fmla="*/ 911 w 10006"/>
              <a:gd name="connsiteY18" fmla="*/ 8578 h 10000"/>
              <a:gd name="connsiteX19" fmla="*/ 950 w 10006"/>
              <a:gd name="connsiteY19" fmla="*/ 8777 h 10000"/>
              <a:gd name="connsiteX20" fmla="*/ 985 w 10006"/>
              <a:gd name="connsiteY20" fmla="*/ 8990 h 10000"/>
              <a:gd name="connsiteX21" fmla="*/ 1018 w 10006"/>
              <a:gd name="connsiteY21" fmla="*/ 9230 h 10000"/>
              <a:gd name="connsiteX22" fmla="*/ 1050 w 10006"/>
              <a:gd name="connsiteY22" fmla="*/ 9468 h 10000"/>
              <a:gd name="connsiteX23" fmla="*/ 1077 w 10006"/>
              <a:gd name="connsiteY23" fmla="*/ 9735 h 10000"/>
              <a:gd name="connsiteX24" fmla="*/ 1104 w 10006"/>
              <a:gd name="connsiteY24" fmla="*/ 10000 h 10000"/>
              <a:gd name="connsiteX25" fmla="*/ 1104 w 10006"/>
              <a:gd name="connsiteY25" fmla="*/ 10000 h 10000"/>
              <a:gd name="connsiteX26" fmla="*/ 1116 w 10006"/>
              <a:gd name="connsiteY26" fmla="*/ 9880 h 10000"/>
              <a:gd name="connsiteX27" fmla="*/ 1134 w 10006"/>
              <a:gd name="connsiteY27" fmla="*/ 9735 h 10000"/>
              <a:gd name="connsiteX28" fmla="*/ 1160 w 10006"/>
              <a:gd name="connsiteY28" fmla="*/ 9548 h 10000"/>
              <a:gd name="connsiteX29" fmla="*/ 1193 w 10006"/>
              <a:gd name="connsiteY29" fmla="*/ 9323 h 10000"/>
              <a:gd name="connsiteX30" fmla="*/ 1234 w 10006"/>
              <a:gd name="connsiteY30" fmla="*/ 9083 h 10000"/>
              <a:gd name="connsiteX31" fmla="*/ 1285 w 10006"/>
              <a:gd name="connsiteY31" fmla="*/ 8804 h 10000"/>
              <a:gd name="connsiteX32" fmla="*/ 1341 w 10006"/>
              <a:gd name="connsiteY32" fmla="*/ 8524 h 10000"/>
              <a:gd name="connsiteX33" fmla="*/ 1407 w 10006"/>
              <a:gd name="connsiteY33" fmla="*/ 8246 h 10000"/>
              <a:gd name="connsiteX34" fmla="*/ 1445 w 10006"/>
              <a:gd name="connsiteY34" fmla="*/ 8100 h 10000"/>
              <a:gd name="connsiteX35" fmla="*/ 1484 w 10006"/>
              <a:gd name="connsiteY35" fmla="*/ 7967 h 10000"/>
              <a:gd name="connsiteX36" fmla="*/ 1522 w 10006"/>
              <a:gd name="connsiteY36" fmla="*/ 7834 h 10000"/>
              <a:gd name="connsiteX37" fmla="*/ 1567 w 10006"/>
              <a:gd name="connsiteY37" fmla="*/ 7700 h 10000"/>
              <a:gd name="connsiteX38" fmla="*/ 1611 w 10006"/>
              <a:gd name="connsiteY38" fmla="*/ 7568 h 10000"/>
              <a:gd name="connsiteX39" fmla="*/ 1662 w 10006"/>
              <a:gd name="connsiteY39" fmla="*/ 7448 h 10000"/>
              <a:gd name="connsiteX40" fmla="*/ 1710 w 10006"/>
              <a:gd name="connsiteY40" fmla="*/ 7329 h 10000"/>
              <a:gd name="connsiteX41" fmla="*/ 1764 w 10006"/>
              <a:gd name="connsiteY41" fmla="*/ 7222 h 10000"/>
              <a:gd name="connsiteX42" fmla="*/ 1820 w 10006"/>
              <a:gd name="connsiteY42" fmla="*/ 7129 h 10000"/>
              <a:gd name="connsiteX43" fmla="*/ 1876 w 10006"/>
              <a:gd name="connsiteY43" fmla="*/ 7036 h 10000"/>
              <a:gd name="connsiteX44" fmla="*/ 1936 w 10006"/>
              <a:gd name="connsiteY44" fmla="*/ 6970 h 10000"/>
              <a:gd name="connsiteX45" fmla="*/ 2001 w 10006"/>
              <a:gd name="connsiteY45" fmla="*/ 6903 h 10000"/>
              <a:gd name="connsiteX46" fmla="*/ 2066 w 10006"/>
              <a:gd name="connsiteY46" fmla="*/ 6850 h 10000"/>
              <a:gd name="connsiteX47" fmla="*/ 2132 w 10006"/>
              <a:gd name="connsiteY47" fmla="*/ 6810 h 10000"/>
              <a:gd name="connsiteX48" fmla="*/ 9018 w 10006"/>
              <a:gd name="connsiteY48" fmla="*/ 6810 h 10000"/>
              <a:gd name="connsiteX49" fmla="*/ 9018 w 10006"/>
              <a:gd name="connsiteY49" fmla="*/ 6810 h 10000"/>
              <a:gd name="connsiteX50" fmla="*/ 9045 w 10006"/>
              <a:gd name="connsiteY50" fmla="*/ 6810 h 10000"/>
              <a:gd name="connsiteX51" fmla="*/ 9077 w 10006"/>
              <a:gd name="connsiteY51" fmla="*/ 6810 h 10000"/>
              <a:gd name="connsiteX52" fmla="*/ 9116 w 10006"/>
              <a:gd name="connsiteY52" fmla="*/ 6797 h 10000"/>
              <a:gd name="connsiteX53" fmla="*/ 9169 w 10006"/>
              <a:gd name="connsiteY53" fmla="*/ 6771 h 10000"/>
              <a:gd name="connsiteX54" fmla="*/ 9226 w 10006"/>
              <a:gd name="connsiteY54" fmla="*/ 6717 h 10000"/>
              <a:gd name="connsiteX55" fmla="*/ 9291 w 10006"/>
              <a:gd name="connsiteY55" fmla="*/ 6651 h 10000"/>
              <a:gd name="connsiteX56" fmla="*/ 9362 w 10006"/>
              <a:gd name="connsiteY56" fmla="*/ 6545 h 10000"/>
              <a:gd name="connsiteX57" fmla="*/ 9439 w 10006"/>
              <a:gd name="connsiteY57" fmla="*/ 6398 h 10000"/>
              <a:gd name="connsiteX58" fmla="*/ 9478 w 10006"/>
              <a:gd name="connsiteY58" fmla="*/ 6305 h 10000"/>
              <a:gd name="connsiteX59" fmla="*/ 9516 w 10006"/>
              <a:gd name="connsiteY59" fmla="*/ 6212 h 10000"/>
              <a:gd name="connsiteX60" fmla="*/ 9558 w 10006"/>
              <a:gd name="connsiteY60" fmla="*/ 6106 h 10000"/>
              <a:gd name="connsiteX61" fmla="*/ 9599 w 10006"/>
              <a:gd name="connsiteY61" fmla="*/ 5986 h 10000"/>
              <a:gd name="connsiteX62" fmla="*/ 9641 w 10006"/>
              <a:gd name="connsiteY62" fmla="*/ 5854 h 10000"/>
              <a:gd name="connsiteX63" fmla="*/ 9683 w 10006"/>
              <a:gd name="connsiteY63" fmla="*/ 5707 h 10000"/>
              <a:gd name="connsiteX64" fmla="*/ 9724 w 10006"/>
              <a:gd name="connsiteY64" fmla="*/ 5548 h 10000"/>
              <a:gd name="connsiteX65" fmla="*/ 9763 w 10006"/>
              <a:gd name="connsiteY65" fmla="*/ 5375 h 10000"/>
              <a:gd name="connsiteX66" fmla="*/ 9804 w 10006"/>
              <a:gd name="connsiteY66" fmla="*/ 5176 h 10000"/>
              <a:gd name="connsiteX67" fmla="*/ 9846 w 10006"/>
              <a:gd name="connsiteY67" fmla="*/ 4976 h 10000"/>
              <a:gd name="connsiteX68" fmla="*/ 9884 w 10006"/>
              <a:gd name="connsiteY68" fmla="*/ 4750 h 10000"/>
              <a:gd name="connsiteX69" fmla="*/ 9923 w 10006"/>
              <a:gd name="connsiteY69" fmla="*/ 4512 h 10000"/>
              <a:gd name="connsiteX70" fmla="*/ 9961 w 10006"/>
              <a:gd name="connsiteY70" fmla="*/ 4259 h 10000"/>
              <a:gd name="connsiteX71" fmla="*/ 10000 w 10006"/>
              <a:gd name="connsiteY71" fmla="*/ 3980 h 10000"/>
              <a:gd name="connsiteX72" fmla="*/ 10006 w 10006"/>
              <a:gd name="connsiteY72" fmla="*/ 0 h 10000"/>
              <a:gd name="connsiteX73" fmla="*/ 0 w 10006"/>
              <a:gd name="connsiteY73" fmla="*/ 0 h 10000"/>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943 h 10943"/>
              <a:gd name="connsiteX73" fmla="*/ 0 w 10006"/>
              <a:gd name="connsiteY73" fmla="*/ 0 h 10943"/>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0 h 10943"/>
              <a:gd name="connsiteX0" fmla="*/ 387 w 10004"/>
              <a:gd name="connsiteY0" fmla="*/ 2031 h 10943"/>
              <a:gd name="connsiteX1" fmla="*/ 1 w 10004"/>
              <a:gd name="connsiteY1" fmla="*/ 7647 h 10943"/>
              <a:gd name="connsiteX2" fmla="*/ 1 w 10004"/>
              <a:gd name="connsiteY2" fmla="*/ 7647 h 10943"/>
              <a:gd name="connsiteX3" fmla="*/ 40 w 10004"/>
              <a:gd name="connsiteY3" fmla="*/ 7674 h 10943"/>
              <a:gd name="connsiteX4" fmla="*/ 81 w 10004"/>
              <a:gd name="connsiteY4" fmla="*/ 7701 h 10943"/>
              <a:gd name="connsiteX5" fmla="*/ 137 w 10004"/>
              <a:gd name="connsiteY5" fmla="*/ 7740 h 10943"/>
              <a:gd name="connsiteX6" fmla="*/ 206 w 10004"/>
              <a:gd name="connsiteY6" fmla="*/ 7807 h 10943"/>
              <a:gd name="connsiteX7" fmla="*/ 283 w 10004"/>
              <a:gd name="connsiteY7" fmla="*/ 7900 h 10943"/>
              <a:gd name="connsiteX8" fmla="*/ 369 w 10004"/>
              <a:gd name="connsiteY8" fmla="*/ 8020 h 10943"/>
              <a:gd name="connsiteX9" fmla="*/ 458 w 10004"/>
              <a:gd name="connsiteY9" fmla="*/ 8165 h 10943"/>
              <a:gd name="connsiteX10" fmla="*/ 553 w 10004"/>
              <a:gd name="connsiteY10" fmla="*/ 8351 h 10943"/>
              <a:gd name="connsiteX11" fmla="*/ 597 w 10004"/>
              <a:gd name="connsiteY11" fmla="*/ 8457 h 10943"/>
              <a:gd name="connsiteX12" fmla="*/ 645 w 10004"/>
              <a:gd name="connsiteY12" fmla="*/ 8577 h 10943"/>
              <a:gd name="connsiteX13" fmla="*/ 692 w 10004"/>
              <a:gd name="connsiteY13" fmla="*/ 8710 h 10943"/>
              <a:gd name="connsiteX14" fmla="*/ 737 w 10004"/>
              <a:gd name="connsiteY14" fmla="*/ 8844 h 10943"/>
              <a:gd name="connsiteX15" fmla="*/ 781 w 10004"/>
              <a:gd name="connsiteY15" fmla="*/ 9003 h 10943"/>
              <a:gd name="connsiteX16" fmla="*/ 826 w 10004"/>
              <a:gd name="connsiteY16" fmla="*/ 9162 h 10943"/>
              <a:gd name="connsiteX17" fmla="*/ 867 w 10004"/>
              <a:gd name="connsiteY17" fmla="*/ 9335 h 10943"/>
              <a:gd name="connsiteX18" fmla="*/ 909 w 10004"/>
              <a:gd name="connsiteY18" fmla="*/ 9521 h 10943"/>
              <a:gd name="connsiteX19" fmla="*/ 948 w 10004"/>
              <a:gd name="connsiteY19" fmla="*/ 9720 h 10943"/>
              <a:gd name="connsiteX20" fmla="*/ 983 w 10004"/>
              <a:gd name="connsiteY20" fmla="*/ 9933 h 10943"/>
              <a:gd name="connsiteX21" fmla="*/ 1016 w 10004"/>
              <a:gd name="connsiteY21" fmla="*/ 10173 h 10943"/>
              <a:gd name="connsiteX22" fmla="*/ 1048 w 10004"/>
              <a:gd name="connsiteY22" fmla="*/ 10411 h 10943"/>
              <a:gd name="connsiteX23" fmla="*/ 1075 w 10004"/>
              <a:gd name="connsiteY23" fmla="*/ 10678 h 10943"/>
              <a:gd name="connsiteX24" fmla="*/ 1102 w 10004"/>
              <a:gd name="connsiteY24" fmla="*/ 10943 h 10943"/>
              <a:gd name="connsiteX25" fmla="*/ 1102 w 10004"/>
              <a:gd name="connsiteY25" fmla="*/ 10943 h 10943"/>
              <a:gd name="connsiteX26" fmla="*/ 1114 w 10004"/>
              <a:gd name="connsiteY26" fmla="*/ 10823 h 10943"/>
              <a:gd name="connsiteX27" fmla="*/ 1132 w 10004"/>
              <a:gd name="connsiteY27" fmla="*/ 10678 h 10943"/>
              <a:gd name="connsiteX28" fmla="*/ 1158 w 10004"/>
              <a:gd name="connsiteY28" fmla="*/ 10491 h 10943"/>
              <a:gd name="connsiteX29" fmla="*/ 1191 w 10004"/>
              <a:gd name="connsiteY29" fmla="*/ 10266 h 10943"/>
              <a:gd name="connsiteX30" fmla="*/ 1232 w 10004"/>
              <a:gd name="connsiteY30" fmla="*/ 10026 h 10943"/>
              <a:gd name="connsiteX31" fmla="*/ 1283 w 10004"/>
              <a:gd name="connsiteY31" fmla="*/ 9747 h 10943"/>
              <a:gd name="connsiteX32" fmla="*/ 1339 w 10004"/>
              <a:gd name="connsiteY32" fmla="*/ 9467 h 10943"/>
              <a:gd name="connsiteX33" fmla="*/ 1405 w 10004"/>
              <a:gd name="connsiteY33" fmla="*/ 9189 h 10943"/>
              <a:gd name="connsiteX34" fmla="*/ 1443 w 10004"/>
              <a:gd name="connsiteY34" fmla="*/ 9043 h 10943"/>
              <a:gd name="connsiteX35" fmla="*/ 1482 w 10004"/>
              <a:gd name="connsiteY35" fmla="*/ 8910 h 10943"/>
              <a:gd name="connsiteX36" fmla="*/ 1520 w 10004"/>
              <a:gd name="connsiteY36" fmla="*/ 8777 h 10943"/>
              <a:gd name="connsiteX37" fmla="*/ 1565 w 10004"/>
              <a:gd name="connsiteY37" fmla="*/ 8643 h 10943"/>
              <a:gd name="connsiteX38" fmla="*/ 1609 w 10004"/>
              <a:gd name="connsiteY38" fmla="*/ 8511 h 10943"/>
              <a:gd name="connsiteX39" fmla="*/ 1660 w 10004"/>
              <a:gd name="connsiteY39" fmla="*/ 8391 h 10943"/>
              <a:gd name="connsiteX40" fmla="*/ 1708 w 10004"/>
              <a:gd name="connsiteY40" fmla="*/ 8272 h 10943"/>
              <a:gd name="connsiteX41" fmla="*/ 1762 w 10004"/>
              <a:gd name="connsiteY41" fmla="*/ 8165 h 10943"/>
              <a:gd name="connsiteX42" fmla="*/ 1818 w 10004"/>
              <a:gd name="connsiteY42" fmla="*/ 8072 h 10943"/>
              <a:gd name="connsiteX43" fmla="*/ 1874 w 10004"/>
              <a:gd name="connsiteY43" fmla="*/ 7979 h 10943"/>
              <a:gd name="connsiteX44" fmla="*/ 1934 w 10004"/>
              <a:gd name="connsiteY44" fmla="*/ 7913 h 10943"/>
              <a:gd name="connsiteX45" fmla="*/ 1999 w 10004"/>
              <a:gd name="connsiteY45" fmla="*/ 7846 h 10943"/>
              <a:gd name="connsiteX46" fmla="*/ 2064 w 10004"/>
              <a:gd name="connsiteY46" fmla="*/ 7793 h 10943"/>
              <a:gd name="connsiteX47" fmla="*/ 2130 w 10004"/>
              <a:gd name="connsiteY47" fmla="*/ 7753 h 10943"/>
              <a:gd name="connsiteX48" fmla="*/ 9016 w 10004"/>
              <a:gd name="connsiteY48" fmla="*/ 7753 h 10943"/>
              <a:gd name="connsiteX49" fmla="*/ 9016 w 10004"/>
              <a:gd name="connsiteY49" fmla="*/ 7753 h 10943"/>
              <a:gd name="connsiteX50" fmla="*/ 9043 w 10004"/>
              <a:gd name="connsiteY50" fmla="*/ 7753 h 10943"/>
              <a:gd name="connsiteX51" fmla="*/ 9075 w 10004"/>
              <a:gd name="connsiteY51" fmla="*/ 7753 h 10943"/>
              <a:gd name="connsiteX52" fmla="*/ 9114 w 10004"/>
              <a:gd name="connsiteY52" fmla="*/ 7740 h 10943"/>
              <a:gd name="connsiteX53" fmla="*/ 9167 w 10004"/>
              <a:gd name="connsiteY53" fmla="*/ 7714 h 10943"/>
              <a:gd name="connsiteX54" fmla="*/ 9224 w 10004"/>
              <a:gd name="connsiteY54" fmla="*/ 7660 h 10943"/>
              <a:gd name="connsiteX55" fmla="*/ 9289 w 10004"/>
              <a:gd name="connsiteY55" fmla="*/ 7594 h 10943"/>
              <a:gd name="connsiteX56" fmla="*/ 9360 w 10004"/>
              <a:gd name="connsiteY56" fmla="*/ 7488 h 10943"/>
              <a:gd name="connsiteX57" fmla="*/ 9437 w 10004"/>
              <a:gd name="connsiteY57" fmla="*/ 7341 h 10943"/>
              <a:gd name="connsiteX58" fmla="*/ 9476 w 10004"/>
              <a:gd name="connsiteY58" fmla="*/ 7248 h 10943"/>
              <a:gd name="connsiteX59" fmla="*/ 9514 w 10004"/>
              <a:gd name="connsiteY59" fmla="*/ 7155 h 10943"/>
              <a:gd name="connsiteX60" fmla="*/ 9556 w 10004"/>
              <a:gd name="connsiteY60" fmla="*/ 7049 h 10943"/>
              <a:gd name="connsiteX61" fmla="*/ 9597 w 10004"/>
              <a:gd name="connsiteY61" fmla="*/ 6929 h 10943"/>
              <a:gd name="connsiteX62" fmla="*/ 9639 w 10004"/>
              <a:gd name="connsiteY62" fmla="*/ 6797 h 10943"/>
              <a:gd name="connsiteX63" fmla="*/ 9681 w 10004"/>
              <a:gd name="connsiteY63" fmla="*/ 6650 h 10943"/>
              <a:gd name="connsiteX64" fmla="*/ 9722 w 10004"/>
              <a:gd name="connsiteY64" fmla="*/ 6491 h 10943"/>
              <a:gd name="connsiteX65" fmla="*/ 9761 w 10004"/>
              <a:gd name="connsiteY65" fmla="*/ 6318 h 10943"/>
              <a:gd name="connsiteX66" fmla="*/ 9802 w 10004"/>
              <a:gd name="connsiteY66" fmla="*/ 6119 h 10943"/>
              <a:gd name="connsiteX67" fmla="*/ 9844 w 10004"/>
              <a:gd name="connsiteY67" fmla="*/ 5919 h 10943"/>
              <a:gd name="connsiteX68" fmla="*/ 9882 w 10004"/>
              <a:gd name="connsiteY68" fmla="*/ 5693 h 10943"/>
              <a:gd name="connsiteX69" fmla="*/ 9921 w 10004"/>
              <a:gd name="connsiteY69" fmla="*/ 5455 h 10943"/>
              <a:gd name="connsiteX70" fmla="*/ 9959 w 10004"/>
              <a:gd name="connsiteY70" fmla="*/ 5202 h 10943"/>
              <a:gd name="connsiteX71" fmla="*/ 9998 w 10004"/>
              <a:gd name="connsiteY71" fmla="*/ 4923 h 10943"/>
              <a:gd name="connsiteX72" fmla="*/ 10004 w 10004"/>
              <a:gd name="connsiteY72" fmla="*/ 0 h 10943"/>
              <a:gd name="connsiteX73" fmla="*/ 387 w 10004"/>
              <a:gd name="connsiteY73" fmla="*/ 2031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2"/>
              <a:gd name="connsiteY0" fmla="*/ 0 h 10508"/>
              <a:gd name="connsiteX1" fmla="*/ 3 w 10002"/>
              <a:gd name="connsiteY1" fmla="*/ 7212 h 10508"/>
              <a:gd name="connsiteX2" fmla="*/ 3 w 10002"/>
              <a:gd name="connsiteY2" fmla="*/ 7212 h 10508"/>
              <a:gd name="connsiteX3" fmla="*/ 42 w 10002"/>
              <a:gd name="connsiteY3" fmla="*/ 7239 h 10508"/>
              <a:gd name="connsiteX4" fmla="*/ 83 w 10002"/>
              <a:gd name="connsiteY4" fmla="*/ 7266 h 10508"/>
              <a:gd name="connsiteX5" fmla="*/ 139 w 10002"/>
              <a:gd name="connsiteY5" fmla="*/ 7305 h 10508"/>
              <a:gd name="connsiteX6" fmla="*/ 208 w 10002"/>
              <a:gd name="connsiteY6" fmla="*/ 7372 h 10508"/>
              <a:gd name="connsiteX7" fmla="*/ 285 w 10002"/>
              <a:gd name="connsiteY7" fmla="*/ 7465 h 10508"/>
              <a:gd name="connsiteX8" fmla="*/ 371 w 10002"/>
              <a:gd name="connsiteY8" fmla="*/ 7585 h 10508"/>
              <a:gd name="connsiteX9" fmla="*/ 460 w 10002"/>
              <a:gd name="connsiteY9" fmla="*/ 7730 h 10508"/>
              <a:gd name="connsiteX10" fmla="*/ 555 w 10002"/>
              <a:gd name="connsiteY10" fmla="*/ 7916 h 10508"/>
              <a:gd name="connsiteX11" fmla="*/ 599 w 10002"/>
              <a:gd name="connsiteY11" fmla="*/ 8022 h 10508"/>
              <a:gd name="connsiteX12" fmla="*/ 647 w 10002"/>
              <a:gd name="connsiteY12" fmla="*/ 8142 h 10508"/>
              <a:gd name="connsiteX13" fmla="*/ 694 w 10002"/>
              <a:gd name="connsiteY13" fmla="*/ 8275 h 10508"/>
              <a:gd name="connsiteX14" fmla="*/ 739 w 10002"/>
              <a:gd name="connsiteY14" fmla="*/ 8409 h 10508"/>
              <a:gd name="connsiteX15" fmla="*/ 783 w 10002"/>
              <a:gd name="connsiteY15" fmla="*/ 8568 h 10508"/>
              <a:gd name="connsiteX16" fmla="*/ 828 w 10002"/>
              <a:gd name="connsiteY16" fmla="*/ 8727 h 10508"/>
              <a:gd name="connsiteX17" fmla="*/ 869 w 10002"/>
              <a:gd name="connsiteY17" fmla="*/ 8900 h 10508"/>
              <a:gd name="connsiteX18" fmla="*/ 911 w 10002"/>
              <a:gd name="connsiteY18" fmla="*/ 9086 h 10508"/>
              <a:gd name="connsiteX19" fmla="*/ 950 w 10002"/>
              <a:gd name="connsiteY19" fmla="*/ 9285 h 10508"/>
              <a:gd name="connsiteX20" fmla="*/ 985 w 10002"/>
              <a:gd name="connsiteY20" fmla="*/ 9498 h 10508"/>
              <a:gd name="connsiteX21" fmla="*/ 1018 w 10002"/>
              <a:gd name="connsiteY21" fmla="*/ 9738 h 10508"/>
              <a:gd name="connsiteX22" fmla="*/ 1050 w 10002"/>
              <a:gd name="connsiteY22" fmla="*/ 9976 h 10508"/>
              <a:gd name="connsiteX23" fmla="*/ 1077 w 10002"/>
              <a:gd name="connsiteY23" fmla="*/ 10243 h 10508"/>
              <a:gd name="connsiteX24" fmla="*/ 1104 w 10002"/>
              <a:gd name="connsiteY24" fmla="*/ 10508 h 10508"/>
              <a:gd name="connsiteX25" fmla="*/ 1104 w 10002"/>
              <a:gd name="connsiteY25" fmla="*/ 10508 h 10508"/>
              <a:gd name="connsiteX26" fmla="*/ 1116 w 10002"/>
              <a:gd name="connsiteY26" fmla="*/ 10388 h 10508"/>
              <a:gd name="connsiteX27" fmla="*/ 1134 w 10002"/>
              <a:gd name="connsiteY27" fmla="*/ 10243 h 10508"/>
              <a:gd name="connsiteX28" fmla="*/ 1160 w 10002"/>
              <a:gd name="connsiteY28" fmla="*/ 10056 h 10508"/>
              <a:gd name="connsiteX29" fmla="*/ 1193 w 10002"/>
              <a:gd name="connsiteY29" fmla="*/ 9831 h 10508"/>
              <a:gd name="connsiteX30" fmla="*/ 1234 w 10002"/>
              <a:gd name="connsiteY30" fmla="*/ 9591 h 10508"/>
              <a:gd name="connsiteX31" fmla="*/ 1285 w 10002"/>
              <a:gd name="connsiteY31" fmla="*/ 9312 h 10508"/>
              <a:gd name="connsiteX32" fmla="*/ 1341 w 10002"/>
              <a:gd name="connsiteY32" fmla="*/ 9032 h 10508"/>
              <a:gd name="connsiteX33" fmla="*/ 1407 w 10002"/>
              <a:gd name="connsiteY33" fmla="*/ 8754 h 10508"/>
              <a:gd name="connsiteX34" fmla="*/ 1445 w 10002"/>
              <a:gd name="connsiteY34" fmla="*/ 8608 h 10508"/>
              <a:gd name="connsiteX35" fmla="*/ 1484 w 10002"/>
              <a:gd name="connsiteY35" fmla="*/ 8475 h 10508"/>
              <a:gd name="connsiteX36" fmla="*/ 1522 w 10002"/>
              <a:gd name="connsiteY36" fmla="*/ 8342 h 10508"/>
              <a:gd name="connsiteX37" fmla="*/ 1567 w 10002"/>
              <a:gd name="connsiteY37" fmla="*/ 8208 h 10508"/>
              <a:gd name="connsiteX38" fmla="*/ 1611 w 10002"/>
              <a:gd name="connsiteY38" fmla="*/ 8076 h 10508"/>
              <a:gd name="connsiteX39" fmla="*/ 1662 w 10002"/>
              <a:gd name="connsiteY39" fmla="*/ 7956 h 10508"/>
              <a:gd name="connsiteX40" fmla="*/ 1710 w 10002"/>
              <a:gd name="connsiteY40" fmla="*/ 7837 h 10508"/>
              <a:gd name="connsiteX41" fmla="*/ 1764 w 10002"/>
              <a:gd name="connsiteY41" fmla="*/ 7730 h 10508"/>
              <a:gd name="connsiteX42" fmla="*/ 1820 w 10002"/>
              <a:gd name="connsiteY42" fmla="*/ 7637 h 10508"/>
              <a:gd name="connsiteX43" fmla="*/ 1876 w 10002"/>
              <a:gd name="connsiteY43" fmla="*/ 7544 h 10508"/>
              <a:gd name="connsiteX44" fmla="*/ 1936 w 10002"/>
              <a:gd name="connsiteY44" fmla="*/ 7478 h 10508"/>
              <a:gd name="connsiteX45" fmla="*/ 2001 w 10002"/>
              <a:gd name="connsiteY45" fmla="*/ 7411 h 10508"/>
              <a:gd name="connsiteX46" fmla="*/ 2066 w 10002"/>
              <a:gd name="connsiteY46" fmla="*/ 7358 h 10508"/>
              <a:gd name="connsiteX47" fmla="*/ 2132 w 10002"/>
              <a:gd name="connsiteY47" fmla="*/ 7318 h 10508"/>
              <a:gd name="connsiteX48" fmla="*/ 9018 w 10002"/>
              <a:gd name="connsiteY48" fmla="*/ 7318 h 10508"/>
              <a:gd name="connsiteX49" fmla="*/ 9018 w 10002"/>
              <a:gd name="connsiteY49" fmla="*/ 7318 h 10508"/>
              <a:gd name="connsiteX50" fmla="*/ 9045 w 10002"/>
              <a:gd name="connsiteY50" fmla="*/ 7318 h 10508"/>
              <a:gd name="connsiteX51" fmla="*/ 9077 w 10002"/>
              <a:gd name="connsiteY51" fmla="*/ 7318 h 10508"/>
              <a:gd name="connsiteX52" fmla="*/ 9116 w 10002"/>
              <a:gd name="connsiteY52" fmla="*/ 7305 h 10508"/>
              <a:gd name="connsiteX53" fmla="*/ 9169 w 10002"/>
              <a:gd name="connsiteY53" fmla="*/ 7279 h 10508"/>
              <a:gd name="connsiteX54" fmla="*/ 9226 w 10002"/>
              <a:gd name="connsiteY54" fmla="*/ 7225 h 10508"/>
              <a:gd name="connsiteX55" fmla="*/ 9291 w 10002"/>
              <a:gd name="connsiteY55" fmla="*/ 7159 h 10508"/>
              <a:gd name="connsiteX56" fmla="*/ 9362 w 10002"/>
              <a:gd name="connsiteY56" fmla="*/ 7053 h 10508"/>
              <a:gd name="connsiteX57" fmla="*/ 9439 w 10002"/>
              <a:gd name="connsiteY57" fmla="*/ 6906 h 10508"/>
              <a:gd name="connsiteX58" fmla="*/ 9478 w 10002"/>
              <a:gd name="connsiteY58" fmla="*/ 6813 h 10508"/>
              <a:gd name="connsiteX59" fmla="*/ 9516 w 10002"/>
              <a:gd name="connsiteY59" fmla="*/ 6720 h 10508"/>
              <a:gd name="connsiteX60" fmla="*/ 9558 w 10002"/>
              <a:gd name="connsiteY60" fmla="*/ 6614 h 10508"/>
              <a:gd name="connsiteX61" fmla="*/ 9599 w 10002"/>
              <a:gd name="connsiteY61" fmla="*/ 6494 h 10508"/>
              <a:gd name="connsiteX62" fmla="*/ 9641 w 10002"/>
              <a:gd name="connsiteY62" fmla="*/ 6362 h 10508"/>
              <a:gd name="connsiteX63" fmla="*/ 9683 w 10002"/>
              <a:gd name="connsiteY63" fmla="*/ 6215 h 10508"/>
              <a:gd name="connsiteX64" fmla="*/ 9724 w 10002"/>
              <a:gd name="connsiteY64" fmla="*/ 6056 h 10508"/>
              <a:gd name="connsiteX65" fmla="*/ 9763 w 10002"/>
              <a:gd name="connsiteY65" fmla="*/ 5883 h 10508"/>
              <a:gd name="connsiteX66" fmla="*/ 9804 w 10002"/>
              <a:gd name="connsiteY66" fmla="*/ 5684 h 10508"/>
              <a:gd name="connsiteX67" fmla="*/ 9846 w 10002"/>
              <a:gd name="connsiteY67" fmla="*/ 5484 h 10508"/>
              <a:gd name="connsiteX68" fmla="*/ 9884 w 10002"/>
              <a:gd name="connsiteY68" fmla="*/ 5258 h 10508"/>
              <a:gd name="connsiteX69" fmla="*/ 9923 w 10002"/>
              <a:gd name="connsiteY69" fmla="*/ 5020 h 10508"/>
              <a:gd name="connsiteX70" fmla="*/ 9961 w 10002"/>
              <a:gd name="connsiteY70" fmla="*/ 4767 h 10508"/>
              <a:gd name="connsiteX71" fmla="*/ 10000 w 10002"/>
              <a:gd name="connsiteY71" fmla="*/ 4488 h 10508"/>
              <a:gd name="connsiteX72" fmla="*/ 9552 w 10002"/>
              <a:gd name="connsiteY72" fmla="*/ 0 h 10508"/>
              <a:gd name="connsiteX73" fmla="*/ 0 w 10002"/>
              <a:gd name="connsiteY73" fmla="*/ 0 h 10508"/>
              <a:gd name="connsiteX0" fmla="*/ 0 w 10000"/>
              <a:gd name="connsiteY0" fmla="*/ 0 h 10508"/>
              <a:gd name="connsiteX1" fmla="*/ 3 w 10000"/>
              <a:gd name="connsiteY1" fmla="*/ 7212 h 10508"/>
              <a:gd name="connsiteX2" fmla="*/ 3 w 10000"/>
              <a:gd name="connsiteY2" fmla="*/ 7212 h 10508"/>
              <a:gd name="connsiteX3" fmla="*/ 42 w 10000"/>
              <a:gd name="connsiteY3" fmla="*/ 7239 h 10508"/>
              <a:gd name="connsiteX4" fmla="*/ 83 w 10000"/>
              <a:gd name="connsiteY4" fmla="*/ 7266 h 10508"/>
              <a:gd name="connsiteX5" fmla="*/ 139 w 10000"/>
              <a:gd name="connsiteY5" fmla="*/ 7305 h 10508"/>
              <a:gd name="connsiteX6" fmla="*/ 208 w 10000"/>
              <a:gd name="connsiteY6" fmla="*/ 7372 h 10508"/>
              <a:gd name="connsiteX7" fmla="*/ 285 w 10000"/>
              <a:gd name="connsiteY7" fmla="*/ 7465 h 10508"/>
              <a:gd name="connsiteX8" fmla="*/ 371 w 10000"/>
              <a:gd name="connsiteY8" fmla="*/ 7585 h 10508"/>
              <a:gd name="connsiteX9" fmla="*/ 460 w 10000"/>
              <a:gd name="connsiteY9" fmla="*/ 7730 h 10508"/>
              <a:gd name="connsiteX10" fmla="*/ 555 w 10000"/>
              <a:gd name="connsiteY10" fmla="*/ 7916 h 10508"/>
              <a:gd name="connsiteX11" fmla="*/ 599 w 10000"/>
              <a:gd name="connsiteY11" fmla="*/ 8022 h 10508"/>
              <a:gd name="connsiteX12" fmla="*/ 647 w 10000"/>
              <a:gd name="connsiteY12" fmla="*/ 8142 h 10508"/>
              <a:gd name="connsiteX13" fmla="*/ 694 w 10000"/>
              <a:gd name="connsiteY13" fmla="*/ 8275 h 10508"/>
              <a:gd name="connsiteX14" fmla="*/ 739 w 10000"/>
              <a:gd name="connsiteY14" fmla="*/ 8409 h 10508"/>
              <a:gd name="connsiteX15" fmla="*/ 783 w 10000"/>
              <a:gd name="connsiteY15" fmla="*/ 8568 h 10508"/>
              <a:gd name="connsiteX16" fmla="*/ 828 w 10000"/>
              <a:gd name="connsiteY16" fmla="*/ 8727 h 10508"/>
              <a:gd name="connsiteX17" fmla="*/ 869 w 10000"/>
              <a:gd name="connsiteY17" fmla="*/ 8900 h 10508"/>
              <a:gd name="connsiteX18" fmla="*/ 911 w 10000"/>
              <a:gd name="connsiteY18" fmla="*/ 9086 h 10508"/>
              <a:gd name="connsiteX19" fmla="*/ 950 w 10000"/>
              <a:gd name="connsiteY19" fmla="*/ 9285 h 10508"/>
              <a:gd name="connsiteX20" fmla="*/ 985 w 10000"/>
              <a:gd name="connsiteY20" fmla="*/ 9498 h 10508"/>
              <a:gd name="connsiteX21" fmla="*/ 1018 w 10000"/>
              <a:gd name="connsiteY21" fmla="*/ 9738 h 10508"/>
              <a:gd name="connsiteX22" fmla="*/ 1050 w 10000"/>
              <a:gd name="connsiteY22" fmla="*/ 9976 h 10508"/>
              <a:gd name="connsiteX23" fmla="*/ 1077 w 10000"/>
              <a:gd name="connsiteY23" fmla="*/ 10243 h 10508"/>
              <a:gd name="connsiteX24" fmla="*/ 1104 w 10000"/>
              <a:gd name="connsiteY24" fmla="*/ 10508 h 10508"/>
              <a:gd name="connsiteX25" fmla="*/ 1104 w 10000"/>
              <a:gd name="connsiteY25" fmla="*/ 10508 h 10508"/>
              <a:gd name="connsiteX26" fmla="*/ 1116 w 10000"/>
              <a:gd name="connsiteY26" fmla="*/ 10388 h 10508"/>
              <a:gd name="connsiteX27" fmla="*/ 1134 w 10000"/>
              <a:gd name="connsiteY27" fmla="*/ 10243 h 10508"/>
              <a:gd name="connsiteX28" fmla="*/ 1160 w 10000"/>
              <a:gd name="connsiteY28" fmla="*/ 10056 h 10508"/>
              <a:gd name="connsiteX29" fmla="*/ 1193 w 10000"/>
              <a:gd name="connsiteY29" fmla="*/ 9831 h 10508"/>
              <a:gd name="connsiteX30" fmla="*/ 1234 w 10000"/>
              <a:gd name="connsiteY30" fmla="*/ 9591 h 10508"/>
              <a:gd name="connsiteX31" fmla="*/ 1285 w 10000"/>
              <a:gd name="connsiteY31" fmla="*/ 9312 h 10508"/>
              <a:gd name="connsiteX32" fmla="*/ 1341 w 10000"/>
              <a:gd name="connsiteY32" fmla="*/ 9032 h 10508"/>
              <a:gd name="connsiteX33" fmla="*/ 1407 w 10000"/>
              <a:gd name="connsiteY33" fmla="*/ 8754 h 10508"/>
              <a:gd name="connsiteX34" fmla="*/ 1445 w 10000"/>
              <a:gd name="connsiteY34" fmla="*/ 8608 h 10508"/>
              <a:gd name="connsiteX35" fmla="*/ 1484 w 10000"/>
              <a:gd name="connsiteY35" fmla="*/ 8475 h 10508"/>
              <a:gd name="connsiteX36" fmla="*/ 1522 w 10000"/>
              <a:gd name="connsiteY36" fmla="*/ 8342 h 10508"/>
              <a:gd name="connsiteX37" fmla="*/ 1567 w 10000"/>
              <a:gd name="connsiteY37" fmla="*/ 8208 h 10508"/>
              <a:gd name="connsiteX38" fmla="*/ 1611 w 10000"/>
              <a:gd name="connsiteY38" fmla="*/ 8076 h 10508"/>
              <a:gd name="connsiteX39" fmla="*/ 1662 w 10000"/>
              <a:gd name="connsiteY39" fmla="*/ 7956 h 10508"/>
              <a:gd name="connsiteX40" fmla="*/ 1710 w 10000"/>
              <a:gd name="connsiteY40" fmla="*/ 7837 h 10508"/>
              <a:gd name="connsiteX41" fmla="*/ 1764 w 10000"/>
              <a:gd name="connsiteY41" fmla="*/ 7730 h 10508"/>
              <a:gd name="connsiteX42" fmla="*/ 1820 w 10000"/>
              <a:gd name="connsiteY42" fmla="*/ 7637 h 10508"/>
              <a:gd name="connsiteX43" fmla="*/ 1876 w 10000"/>
              <a:gd name="connsiteY43" fmla="*/ 7544 h 10508"/>
              <a:gd name="connsiteX44" fmla="*/ 1936 w 10000"/>
              <a:gd name="connsiteY44" fmla="*/ 7478 h 10508"/>
              <a:gd name="connsiteX45" fmla="*/ 2001 w 10000"/>
              <a:gd name="connsiteY45" fmla="*/ 7411 h 10508"/>
              <a:gd name="connsiteX46" fmla="*/ 2066 w 10000"/>
              <a:gd name="connsiteY46" fmla="*/ 7358 h 10508"/>
              <a:gd name="connsiteX47" fmla="*/ 2132 w 10000"/>
              <a:gd name="connsiteY47" fmla="*/ 7318 h 10508"/>
              <a:gd name="connsiteX48" fmla="*/ 9018 w 10000"/>
              <a:gd name="connsiteY48" fmla="*/ 7318 h 10508"/>
              <a:gd name="connsiteX49" fmla="*/ 9018 w 10000"/>
              <a:gd name="connsiteY49" fmla="*/ 7318 h 10508"/>
              <a:gd name="connsiteX50" fmla="*/ 9045 w 10000"/>
              <a:gd name="connsiteY50" fmla="*/ 7318 h 10508"/>
              <a:gd name="connsiteX51" fmla="*/ 9077 w 10000"/>
              <a:gd name="connsiteY51" fmla="*/ 7318 h 10508"/>
              <a:gd name="connsiteX52" fmla="*/ 9116 w 10000"/>
              <a:gd name="connsiteY52" fmla="*/ 7305 h 10508"/>
              <a:gd name="connsiteX53" fmla="*/ 9169 w 10000"/>
              <a:gd name="connsiteY53" fmla="*/ 7279 h 10508"/>
              <a:gd name="connsiteX54" fmla="*/ 9226 w 10000"/>
              <a:gd name="connsiteY54" fmla="*/ 7225 h 10508"/>
              <a:gd name="connsiteX55" fmla="*/ 9291 w 10000"/>
              <a:gd name="connsiteY55" fmla="*/ 7159 h 10508"/>
              <a:gd name="connsiteX56" fmla="*/ 9362 w 10000"/>
              <a:gd name="connsiteY56" fmla="*/ 7053 h 10508"/>
              <a:gd name="connsiteX57" fmla="*/ 9439 w 10000"/>
              <a:gd name="connsiteY57" fmla="*/ 6906 h 10508"/>
              <a:gd name="connsiteX58" fmla="*/ 9478 w 10000"/>
              <a:gd name="connsiteY58" fmla="*/ 6813 h 10508"/>
              <a:gd name="connsiteX59" fmla="*/ 9516 w 10000"/>
              <a:gd name="connsiteY59" fmla="*/ 6720 h 10508"/>
              <a:gd name="connsiteX60" fmla="*/ 9558 w 10000"/>
              <a:gd name="connsiteY60" fmla="*/ 6614 h 10508"/>
              <a:gd name="connsiteX61" fmla="*/ 9599 w 10000"/>
              <a:gd name="connsiteY61" fmla="*/ 6494 h 10508"/>
              <a:gd name="connsiteX62" fmla="*/ 9641 w 10000"/>
              <a:gd name="connsiteY62" fmla="*/ 6362 h 10508"/>
              <a:gd name="connsiteX63" fmla="*/ 9683 w 10000"/>
              <a:gd name="connsiteY63" fmla="*/ 6215 h 10508"/>
              <a:gd name="connsiteX64" fmla="*/ 9724 w 10000"/>
              <a:gd name="connsiteY64" fmla="*/ 6056 h 10508"/>
              <a:gd name="connsiteX65" fmla="*/ 9763 w 10000"/>
              <a:gd name="connsiteY65" fmla="*/ 5883 h 10508"/>
              <a:gd name="connsiteX66" fmla="*/ 9804 w 10000"/>
              <a:gd name="connsiteY66" fmla="*/ 5684 h 10508"/>
              <a:gd name="connsiteX67" fmla="*/ 9846 w 10000"/>
              <a:gd name="connsiteY67" fmla="*/ 5484 h 10508"/>
              <a:gd name="connsiteX68" fmla="*/ 9884 w 10000"/>
              <a:gd name="connsiteY68" fmla="*/ 5258 h 10508"/>
              <a:gd name="connsiteX69" fmla="*/ 9923 w 10000"/>
              <a:gd name="connsiteY69" fmla="*/ 5020 h 10508"/>
              <a:gd name="connsiteX70" fmla="*/ 9961 w 10000"/>
              <a:gd name="connsiteY70" fmla="*/ 4767 h 10508"/>
              <a:gd name="connsiteX71" fmla="*/ 10000 w 10000"/>
              <a:gd name="connsiteY71" fmla="*/ 4488 h 10508"/>
              <a:gd name="connsiteX72" fmla="*/ 9552 w 10000"/>
              <a:gd name="connsiteY72" fmla="*/ 0 h 10508"/>
              <a:gd name="connsiteX73" fmla="*/ 0 w 10000"/>
              <a:gd name="connsiteY73" fmla="*/ 0 h 10508"/>
              <a:gd name="connsiteX0" fmla="*/ 0 w 10155"/>
              <a:gd name="connsiteY0" fmla="*/ 0 h 10508"/>
              <a:gd name="connsiteX1" fmla="*/ 3 w 10155"/>
              <a:gd name="connsiteY1" fmla="*/ 7212 h 10508"/>
              <a:gd name="connsiteX2" fmla="*/ 3 w 10155"/>
              <a:gd name="connsiteY2" fmla="*/ 7212 h 10508"/>
              <a:gd name="connsiteX3" fmla="*/ 42 w 10155"/>
              <a:gd name="connsiteY3" fmla="*/ 7239 h 10508"/>
              <a:gd name="connsiteX4" fmla="*/ 83 w 10155"/>
              <a:gd name="connsiteY4" fmla="*/ 7266 h 10508"/>
              <a:gd name="connsiteX5" fmla="*/ 139 w 10155"/>
              <a:gd name="connsiteY5" fmla="*/ 7305 h 10508"/>
              <a:gd name="connsiteX6" fmla="*/ 208 w 10155"/>
              <a:gd name="connsiteY6" fmla="*/ 7372 h 10508"/>
              <a:gd name="connsiteX7" fmla="*/ 285 w 10155"/>
              <a:gd name="connsiteY7" fmla="*/ 7465 h 10508"/>
              <a:gd name="connsiteX8" fmla="*/ 371 w 10155"/>
              <a:gd name="connsiteY8" fmla="*/ 7585 h 10508"/>
              <a:gd name="connsiteX9" fmla="*/ 460 w 10155"/>
              <a:gd name="connsiteY9" fmla="*/ 7730 h 10508"/>
              <a:gd name="connsiteX10" fmla="*/ 555 w 10155"/>
              <a:gd name="connsiteY10" fmla="*/ 7916 h 10508"/>
              <a:gd name="connsiteX11" fmla="*/ 599 w 10155"/>
              <a:gd name="connsiteY11" fmla="*/ 8022 h 10508"/>
              <a:gd name="connsiteX12" fmla="*/ 647 w 10155"/>
              <a:gd name="connsiteY12" fmla="*/ 8142 h 10508"/>
              <a:gd name="connsiteX13" fmla="*/ 694 w 10155"/>
              <a:gd name="connsiteY13" fmla="*/ 8275 h 10508"/>
              <a:gd name="connsiteX14" fmla="*/ 739 w 10155"/>
              <a:gd name="connsiteY14" fmla="*/ 8409 h 10508"/>
              <a:gd name="connsiteX15" fmla="*/ 783 w 10155"/>
              <a:gd name="connsiteY15" fmla="*/ 8568 h 10508"/>
              <a:gd name="connsiteX16" fmla="*/ 828 w 10155"/>
              <a:gd name="connsiteY16" fmla="*/ 8727 h 10508"/>
              <a:gd name="connsiteX17" fmla="*/ 869 w 10155"/>
              <a:gd name="connsiteY17" fmla="*/ 8900 h 10508"/>
              <a:gd name="connsiteX18" fmla="*/ 911 w 10155"/>
              <a:gd name="connsiteY18" fmla="*/ 9086 h 10508"/>
              <a:gd name="connsiteX19" fmla="*/ 950 w 10155"/>
              <a:gd name="connsiteY19" fmla="*/ 9285 h 10508"/>
              <a:gd name="connsiteX20" fmla="*/ 985 w 10155"/>
              <a:gd name="connsiteY20" fmla="*/ 9498 h 10508"/>
              <a:gd name="connsiteX21" fmla="*/ 1018 w 10155"/>
              <a:gd name="connsiteY21" fmla="*/ 9738 h 10508"/>
              <a:gd name="connsiteX22" fmla="*/ 1050 w 10155"/>
              <a:gd name="connsiteY22" fmla="*/ 9976 h 10508"/>
              <a:gd name="connsiteX23" fmla="*/ 1077 w 10155"/>
              <a:gd name="connsiteY23" fmla="*/ 10243 h 10508"/>
              <a:gd name="connsiteX24" fmla="*/ 1104 w 10155"/>
              <a:gd name="connsiteY24" fmla="*/ 10508 h 10508"/>
              <a:gd name="connsiteX25" fmla="*/ 1104 w 10155"/>
              <a:gd name="connsiteY25" fmla="*/ 10508 h 10508"/>
              <a:gd name="connsiteX26" fmla="*/ 1116 w 10155"/>
              <a:gd name="connsiteY26" fmla="*/ 10388 h 10508"/>
              <a:gd name="connsiteX27" fmla="*/ 1134 w 10155"/>
              <a:gd name="connsiteY27" fmla="*/ 10243 h 10508"/>
              <a:gd name="connsiteX28" fmla="*/ 1160 w 10155"/>
              <a:gd name="connsiteY28" fmla="*/ 10056 h 10508"/>
              <a:gd name="connsiteX29" fmla="*/ 1193 w 10155"/>
              <a:gd name="connsiteY29" fmla="*/ 9831 h 10508"/>
              <a:gd name="connsiteX30" fmla="*/ 1234 w 10155"/>
              <a:gd name="connsiteY30" fmla="*/ 9591 h 10508"/>
              <a:gd name="connsiteX31" fmla="*/ 1285 w 10155"/>
              <a:gd name="connsiteY31" fmla="*/ 9312 h 10508"/>
              <a:gd name="connsiteX32" fmla="*/ 1341 w 10155"/>
              <a:gd name="connsiteY32" fmla="*/ 9032 h 10508"/>
              <a:gd name="connsiteX33" fmla="*/ 1407 w 10155"/>
              <a:gd name="connsiteY33" fmla="*/ 8754 h 10508"/>
              <a:gd name="connsiteX34" fmla="*/ 1445 w 10155"/>
              <a:gd name="connsiteY34" fmla="*/ 8608 h 10508"/>
              <a:gd name="connsiteX35" fmla="*/ 1484 w 10155"/>
              <a:gd name="connsiteY35" fmla="*/ 8475 h 10508"/>
              <a:gd name="connsiteX36" fmla="*/ 1522 w 10155"/>
              <a:gd name="connsiteY36" fmla="*/ 8342 h 10508"/>
              <a:gd name="connsiteX37" fmla="*/ 1567 w 10155"/>
              <a:gd name="connsiteY37" fmla="*/ 8208 h 10508"/>
              <a:gd name="connsiteX38" fmla="*/ 1611 w 10155"/>
              <a:gd name="connsiteY38" fmla="*/ 8076 h 10508"/>
              <a:gd name="connsiteX39" fmla="*/ 1662 w 10155"/>
              <a:gd name="connsiteY39" fmla="*/ 7956 h 10508"/>
              <a:gd name="connsiteX40" fmla="*/ 1710 w 10155"/>
              <a:gd name="connsiteY40" fmla="*/ 7837 h 10508"/>
              <a:gd name="connsiteX41" fmla="*/ 1764 w 10155"/>
              <a:gd name="connsiteY41" fmla="*/ 7730 h 10508"/>
              <a:gd name="connsiteX42" fmla="*/ 1820 w 10155"/>
              <a:gd name="connsiteY42" fmla="*/ 7637 h 10508"/>
              <a:gd name="connsiteX43" fmla="*/ 1876 w 10155"/>
              <a:gd name="connsiteY43" fmla="*/ 7544 h 10508"/>
              <a:gd name="connsiteX44" fmla="*/ 1936 w 10155"/>
              <a:gd name="connsiteY44" fmla="*/ 7478 h 10508"/>
              <a:gd name="connsiteX45" fmla="*/ 2001 w 10155"/>
              <a:gd name="connsiteY45" fmla="*/ 7411 h 10508"/>
              <a:gd name="connsiteX46" fmla="*/ 2066 w 10155"/>
              <a:gd name="connsiteY46" fmla="*/ 7358 h 10508"/>
              <a:gd name="connsiteX47" fmla="*/ 2132 w 10155"/>
              <a:gd name="connsiteY47" fmla="*/ 7318 h 10508"/>
              <a:gd name="connsiteX48" fmla="*/ 9018 w 10155"/>
              <a:gd name="connsiteY48" fmla="*/ 7318 h 10508"/>
              <a:gd name="connsiteX49" fmla="*/ 9018 w 10155"/>
              <a:gd name="connsiteY49" fmla="*/ 7318 h 10508"/>
              <a:gd name="connsiteX50" fmla="*/ 9045 w 10155"/>
              <a:gd name="connsiteY50" fmla="*/ 7318 h 10508"/>
              <a:gd name="connsiteX51" fmla="*/ 9077 w 10155"/>
              <a:gd name="connsiteY51" fmla="*/ 7318 h 10508"/>
              <a:gd name="connsiteX52" fmla="*/ 9116 w 10155"/>
              <a:gd name="connsiteY52" fmla="*/ 7305 h 10508"/>
              <a:gd name="connsiteX53" fmla="*/ 9169 w 10155"/>
              <a:gd name="connsiteY53" fmla="*/ 7279 h 10508"/>
              <a:gd name="connsiteX54" fmla="*/ 9226 w 10155"/>
              <a:gd name="connsiteY54" fmla="*/ 7225 h 10508"/>
              <a:gd name="connsiteX55" fmla="*/ 9291 w 10155"/>
              <a:gd name="connsiteY55" fmla="*/ 7159 h 10508"/>
              <a:gd name="connsiteX56" fmla="*/ 9362 w 10155"/>
              <a:gd name="connsiteY56" fmla="*/ 7053 h 10508"/>
              <a:gd name="connsiteX57" fmla="*/ 9439 w 10155"/>
              <a:gd name="connsiteY57" fmla="*/ 6906 h 10508"/>
              <a:gd name="connsiteX58" fmla="*/ 9478 w 10155"/>
              <a:gd name="connsiteY58" fmla="*/ 6813 h 10508"/>
              <a:gd name="connsiteX59" fmla="*/ 9516 w 10155"/>
              <a:gd name="connsiteY59" fmla="*/ 6720 h 10508"/>
              <a:gd name="connsiteX60" fmla="*/ 9558 w 10155"/>
              <a:gd name="connsiteY60" fmla="*/ 6614 h 10508"/>
              <a:gd name="connsiteX61" fmla="*/ 9599 w 10155"/>
              <a:gd name="connsiteY61" fmla="*/ 6494 h 10508"/>
              <a:gd name="connsiteX62" fmla="*/ 9641 w 10155"/>
              <a:gd name="connsiteY62" fmla="*/ 6362 h 10508"/>
              <a:gd name="connsiteX63" fmla="*/ 9683 w 10155"/>
              <a:gd name="connsiteY63" fmla="*/ 6215 h 10508"/>
              <a:gd name="connsiteX64" fmla="*/ 9724 w 10155"/>
              <a:gd name="connsiteY64" fmla="*/ 6056 h 10508"/>
              <a:gd name="connsiteX65" fmla="*/ 9763 w 10155"/>
              <a:gd name="connsiteY65" fmla="*/ 5883 h 10508"/>
              <a:gd name="connsiteX66" fmla="*/ 9804 w 10155"/>
              <a:gd name="connsiteY66" fmla="*/ 5684 h 10508"/>
              <a:gd name="connsiteX67" fmla="*/ 9846 w 10155"/>
              <a:gd name="connsiteY67" fmla="*/ 5484 h 10508"/>
              <a:gd name="connsiteX68" fmla="*/ 9884 w 10155"/>
              <a:gd name="connsiteY68" fmla="*/ 5258 h 10508"/>
              <a:gd name="connsiteX69" fmla="*/ 9923 w 10155"/>
              <a:gd name="connsiteY69" fmla="*/ 5020 h 10508"/>
              <a:gd name="connsiteX70" fmla="*/ 9961 w 10155"/>
              <a:gd name="connsiteY70" fmla="*/ 4767 h 10508"/>
              <a:gd name="connsiteX71" fmla="*/ 10000 w 10155"/>
              <a:gd name="connsiteY71" fmla="*/ 4488 h 10508"/>
              <a:gd name="connsiteX72" fmla="*/ 10006 w 10155"/>
              <a:gd name="connsiteY72" fmla="*/ 0 h 10508"/>
              <a:gd name="connsiteX73" fmla="*/ 0 w 10155"/>
              <a:gd name="connsiteY73" fmla="*/ 0 h 10508"/>
              <a:gd name="connsiteX0" fmla="*/ 0 w 10006"/>
              <a:gd name="connsiteY0" fmla="*/ 0 h 10508"/>
              <a:gd name="connsiteX1" fmla="*/ 3 w 10006"/>
              <a:gd name="connsiteY1" fmla="*/ 7212 h 10508"/>
              <a:gd name="connsiteX2" fmla="*/ 3 w 10006"/>
              <a:gd name="connsiteY2" fmla="*/ 7212 h 10508"/>
              <a:gd name="connsiteX3" fmla="*/ 42 w 10006"/>
              <a:gd name="connsiteY3" fmla="*/ 7239 h 10508"/>
              <a:gd name="connsiteX4" fmla="*/ 83 w 10006"/>
              <a:gd name="connsiteY4" fmla="*/ 7266 h 10508"/>
              <a:gd name="connsiteX5" fmla="*/ 139 w 10006"/>
              <a:gd name="connsiteY5" fmla="*/ 7305 h 10508"/>
              <a:gd name="connsiteX6" fmla="*/ 208 w 10006"/>
              <a:gd name="connsiteY6" fmla="*/ 7372 h 10508"/>
              <a:gd name="connsiteX7" fmla="*/ 285 w 10006"/>
              <a:gd name="connsiteY7" fmla="*/ 7465 h 10508"/>
              <a:gd name="connsiteX8" fmla="*/ 371 w 10006"/>
              <a:gd name="connsiteY8" fmla="*/ 7585 h 10508"/>
              <a:gd name="connsiteX9" fmla="*/ 460 w 10006"/>
              <a:gd name="connsiteY9" fmla="*/ 7730 h 10508"/>
              <a:gd name="connsiteX10" fmla="*/ 555 w 10006"/>
              <a:gd name="connsiteY10" fmla="*/ 7916 h 10508"/>
              <a:gd name="connsiteX11" fmla="*/ 599 w 10006"/>
              <a:gd name="connsiteY11" fmla="*/ 8022 h 10508"/>
              <a:gd name="connsiteX12" fmla="*/ 647 w 10006"/>
              <a:gd name="connsiteY12" fmla="*/ 8142 h 10508"/>
              <a:gd name="connsiteX13" fmla="*/ 694 w 10006"/>
              <a:gd name="connsiteY13" fmla="*/ 8275 h 10508"/>
              <a:gd name="connsiteX14" fmla="*/ 739 w 10006"/>
              <a:gd name="connsiteY14" fmla="*/ 8409 h 10508"/>
              <a:gd name="connsiteX15" fmla="*/ 783 w 10006"/>
              <a:gd name="connsiteY15" fmla="*/ 8568 h 10508"/>
              <a:gd name="connsiteX16" fmla="*/ 828 w 10006"/>
              <a:gd name="connsiteY16" fmla="*/ 8727 h 10508"/>
              <a:gd name="connsiteX17" fmla="*/ 869 w 10006"/>
              <a:gd name="connsiteY17" fmla="*/ 8900 h 10508"/>
              <a:gd name="connsiteX18" fmla="*/ 911 w 10006"/>
              <a:gd name="connsiteY18" fmla="*/ 9086 h 10508"/>
              <a:gd name="connsiteX19" fmla="*/ 950 w 10006"/>
              <a:gd name="connsiteY19" fmla="*/ 9285 h 10508"/>
              <a:gd name="connsiteX20" fmla="*/ 985 w 10006"/>
              <a:gd name="connsiteY20" fmla="*/ 9498 h 10508"/>
              <a:gd name="connsiteX21" fmla="*/ 1018 w 10006"/>
              <a:gd name="connsiteY21" fmla="*/ 9738 h 10508"/>
              <a:gd name="connsiteX22" fmla="*/ 1050 w 10006"/>
              <a:gd name="connsiteY22" fmla="*/ 9976 h 10508"/>
              <a:gd name="connsiteX23" fmla="*/ 1077 w 10006"/>
              <a:gd name="connsiteY23" fmla="*/ 10243 h 10508"/>
              <a:gd name="connsiteX24" fmla="*/ 1104 w 10006"/>
              <a:gd name="connsiteY24" fmla="*/ 10508 h 10508"/>
              <a:gd name="connsiteX25" fmla="*/ 1104 w 10006"/>
              <a:gd name="connsiteY25" fmla="*/ 10508 h 10508"/>
              <a:gd name="connsiteX26" fmla="*/ 1116 w 10006"/>
              <a:gd name="connsiteY26" fmla="*/ 10388 h 10508"/>
              <a:gd name="connsiteX27" fmla="*/ 1134 w 10006"/>
              <a:gd name="connsiteY27" fmla="*/ 10243 h 10508"/>
              <a:gd name="connsiteX28" fmla="*/ 1160 w 10006"/>
              <a:gd name="connsiteY28" fmla="*/ 10056 h 10508"/>
              <a:gd name="connsiteX29" fmla="*/ 1193 w 10006"/>
              <a:gd name="connsiteY29" fmla="*/ 9831 h 10508"/>
              <a:gd name="connsiteX30" fmla="*/ 1234 w 10006"/>
              <a:gd name="connsiteY30" fmla="*/ 9591 h 10508"/>
              <a:gd name="connsiteX31" fmla="*/ 1285 w 10006"/>
              <a:gd name="connsiteY31" fmla="*/ 9312 h 10508"/>
              <a:gd name="connsiteX32" fmla="*/ 1341 w 10006"/>
              <a:gd name="connsiteY32" fmla="*/ 9032 h 10508"/>
              <a:gd name="connsiteX33" fmla="*/ 1407 w 10006"/>
              <a:gd name="connsiteY33" fmla="*/ 8754 h 10508"/>
              <a:gd name="connsiteX34" fmla="*/ 1445 w 10006"/>
              <a:gd name="connsiteY34" fmla="*/ 8608 h 10508"/>
              <a:gd name="connsiteX35" fmla="*/ 1484 w 10006"/>
              <a:gd name="connsiteY35" fmla="*/ 8475 h 10508"/>
              <a:gd name="connsiteX36" fmla="*/ 1522 w 10006"/>
              <a:gd name="connsiteY36" fmla="*/ 8342 h 10508"/>
              <a:gd name="connsiteX37" fmla="*/ 1567 w 10006"/>
              <a:gd name="connsiteY37" fmla="*/ 8208 h 10508"/>
              <a:gd name="connsiteX38" fmla="*/ 1611 w 10006"/>
              <a:gd name="connsiteY38" fmla="*/ 8076 h 10508"/>
              <a:gd name="connsiteX39" fmla="*/ 1662 w 10006"/>
              <a:gd name="connsiteY39" fmla="*/ 7956 h 10508"/>
              <a:gd name="connsiteX40" fmla="*/ 1710 w 10006"/>
              <a:gd name="connsiteY40" fmla="*/ 7837 h 10508"/>
              <a:gd name="connsiteX41" fmla="*/ 1764 w 10006"/>
              <a:gd name="connsiteY41" fmla="*/ 7730 h 10508"/>
              <a:gd name="connsiteX42" fmla="*/ 1820 w 10006"/>
              <a:gd name="connsiteY42" fmla="*/ 7637 h 10508"/>
              <a:gd name="connsiteX43" fmla="*/ 1876 w 10006"/>
              <a:gd name="connsiteY43" fmla="*/ 7544 h 10508"/>
              <a:gd name="connsiteX44" fmla="*/ 1936 w 10006"/>
              <a:gd name="connsiteY44" fmla="*/ 7478 h 10508"/>
              <a:gd name="connsiteX45" fmla="*/ 2001 w 10006"/>
              <a:gd name="connsiteY45" fmla="*/ 7411 h 10508"/>
              <a:gd name="connsiteX46" fmla="*/ 2066 w 10006"/>
              <a:gd name="connsiteY46" fmla="*/ 7358 h 10508"/>
              <a:gd name="connsiteX47" fmla="*/ 2132 w 10006"/>
              <a:gd name="connsiteY47" fmla="*/ 7318 h 10508"/>
              <a:gd name="connsiteX48" fmla="*/ 9018 w 10006"/>
              <a:gd name="connsiteY48" fmla="*/ 7318 h 10508"/>
              <a:gd name="connsiteX49" fmla="*/ 9018 w 10006"/>
              <a:gd name="connsiteY49" fmla="*/ 7318 h 10508"/>
              <a:gd name="connsiteX50" fmla="*/ 9045 w 10006"/>
              <a:gd name="connsiteY50" fmla="*/ 7318 h 10508"/>
              <a:gd name="connsiteX51" fmla="*/ 9077 w 10006"/>
              <a:gd name="connsiteY51" fmla="*/ 7318 h 10508"/>
              <a:gd name="connsiteX52" fmla="*/ 9116 w 10006"/>
              <a:gd name="connsiteY52" fmla="*/ 7305 h 10508"/>
              <a:gd name="connsiteX53" fmla="*/ 9169 w 10006"/>
              <a:gd name="connsiteY53" fmla="*/ 7279 h 10508"/>
              <a:gd name="connsiteX54" fmla="*/ 9226 w 10006"/>
              <a:gd name="connsiteY54" fmla="*/ 7225 h 10508"/>
              <a:gd name="connsiteX55" fmla="*/ 9291 w 10006"/>
              <a:gd name="connsiteY55" fmla="*/ 7159 h 10508"/>
              <a:gd name="connsiteX56" fmla="*/ 9362 w 10006"/>
              <a:gd name="connsiteY56" fmla="*/ 7053 h 10508"/>
              <a:gd name="connsiteX57" fmla="*/ 9439 w 10006"/>
              <a:gd name="connsiteY57" fmla="*/ 6906 h 10508"/>
              <a:gd name="connsiteX58" fmla="*/ 9478 w 10006"/>
              <a:gd name="connsiteY58" fmla="*/ 6813 h 10508"/>
              <a:gd name="connsiteX59" fmla="*/ 9516 w 10006"/>
              <a:gd name="connsiteY59" fmla="*/ 6720 h 10508"/>
              <a:gd name="connsiteX60" fmla="*/ 9558 w 10006"/>
              <a:gd name="connsiteY60" fmla="*/ 6614 h 10508"/>
              <a:gd name="connsiteX61" fmla="*/ 9599 w 10006"/>
              <a:gd name="connsiteY61" fmla="*/ 6494 h 10508"/>
              <a:gd name="connsiteX62" fmla="*/ 9641 w 10006"/>
              <a:gd name="connsiteY62" fmla="*/ 6362 h 10508"/>
              <a:gd name="connsiteX63" fmla="*/ 9683 w 10006"/>
              <a:gd name="connsiteY63" fmla="*/ 6215 h 10508"/>
              <a:gd name="connsiteX64" fmla="*/ 9724 w 10006"/>
              <a:gd name="connsiteY64" fmla="*/ 6056 h 10508"/>
              <a:gd name="connsiteX65" fmla="*/ 9763 w 10006"/>
              <a:gd name="connsiteY65" fmla="*/ 5883 h 10508"/>
              <a:gd name="connsiteX66" fmla="*/ 9804 w 10006"/>
              <a:gd name="connsiteY66" fmla="*/ 5684 h 10508"/>
              <a:gd name="connsiteX67" fmla="*/ 9846 w 10006"/>
              <a:gd name="connsiteY67" fmla="*/ 5484 h 10508"/>
              <a:gd name="connsiteX68" fmla="*/ 9884 w 10006"/>
              <a:gd name="connsiteY68" fmla="*/ 5258 h 10508"/>
              <a:gd name="connsiteX69" fmla="*/ 9923 w 10006"/>
              <a:gd name="connsiteY69" fmla="*/ 5020 h 10508"/>
              <a:gd name="connsiteX70" fmla="*/ 9961 w 10006"/>
              <a:gd name="connsiteY70" fmla="*/ 4767 h 10508"/>
              <a:gd name="connsiteX71" fmla="*/ 10000 w 10006"/>
              <a:gd name="connsiteY71" fmla="*/ 4488 h 10508"/>
              <a:gd name="connsiteX72" fmla="*/ 10006 w 10006"/>
              <a:gd name="connsiteY72" fmla="*/ 0 h 10508"/>
              <a:gd name="connsiteX73" fmla="*/ 0 w 10006"/>
              <a:gd name="connsiteY73" fmla="*/ 0 h 1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6" h="10508">
                <a:moveTo>
                  <a:pt x="0" y="0"/>
                </a:moveTo>
                <a:lnTo>
                  <a:pt x="3" y="7212"/>
                </a:lnTo>
                <a:lnTo>
                  <a:pt x="3" y="7212"/>
                </a:lnTo>
                <a:cubicBezTo>
                  <a:pt x="16" y="7221"/>
                  <a:pt x="29" y="7229"/>
                  <a:pt x="42" y="7239"/>
                </a:cubicBezTo>
                <a:cubicBezTo>
                  <a:pt x="56" y="7248"/>
                  <a:pt x="69" y="7257"/>
                  <a:pt x="83" y="7266"/>
                </a:cubicBezTo>
                <a:cubicBezTo>
                  <a:pt x="102" y="7279"/>
                  <a:pt x="120" y="7292"/>
                  <a:pt x="139" y="7305"/>
                </a:cubicBezTo>
                <a:cubicBezTo>
                  <a:pt x="162" y="7327"/>
                  <a:pt x="185" y="7349"/>
                  <a:pt x="208" y="7372"/>
                </a:cubicBezTo>
                <a:cubicBezTo>
                  <a:pt x="234" y="7403"/>
                  <a:pt x="259" y="7434"/>
                  <a:pt x="285" y="7465"/>
                </a:cubicBezTo>
                <a:cubicBezTo>
                  <a:pt x="314" y="7505"/>
                  <a:pt x="342" y="7545"/>
                  <a:pt x="371" y="7585"/>
                </a:cubicBezTo>
                <a:cubicBezTo>
                  <a:pt x="401" y="7633"/>
                  <a:pt x="430" y="7682"/>
                  <a:pt x="460" y="7730"/>
                </a:cubicBezTo>
                <a:cubicBezTo>
                  <a:pt x="492" y="7792"/>
                  <a:pt x="523" y="7854"/>
                  <a:pt x="555" y="7916"/>
                </a:cubicBezTo>
                <a:cubicBezTo>
                  <a:pt x="570" y="7951"/>
                  <a:pt x="584" y="7987"/>
                  <a:pt x="599" y="8022"/>
                </a:cubicBezTo>
                <a:cubicBezTo>
                  <a:pt x="615" y="8063"/>
                  <a:pt x="631" y="8102"/>
                  <a:pt x="647" y="8142"/>
                </a:cubicBezTo>
                <a:cubicBezTo>
                  <a:pt x="663" y="8187"/>
                  <a:pt x="678" y="8231"/>
                  <a:pt x="694" y="8275"/>
                </a:cubicBezTo>
                <a:cubicBezTo>
                  <a:pt x="709" y="8320"/>
                  <a:pt x="724" y="8364"/>
                  <a:pt x="739" y="8409"/>
                </a:cubicBezTo>
                <a:cubicBezTo>
                  <a:pt x="754" y="8461"/>
                  <a:pt x="768" y="8515"/>
                  <a:pt x="783" y="8568"/>
                </a:cubicBezTo>
                <a:cubicBezTo>
                  <a:pt x="798" y="8620"/>
                  <a:pt x="813" y="8674"/>
                  <a:pt x="828" y="8727"/>
                </a:cubicBezTo>
                <a:cubicBezTo>
                  <a:pt x="842" y="8785"/>
                  <a:pt x="855" y="8842"/>
                  <a:pt x="869" y="8900"/>
                </a:cubicBezTo>
                <a:lnTo>
                  <a:pt x="911" y="9086"/>
                </a:lnTo>
                <a:cubicBezTo>
                  <a:pt x="924" y="9152"/>
                  <a:pt x="937" y="9219"/>
                  <a:pt x="950" y="9285"/>
                </a:cubicBezTo>
                <a:cubicBezTo>
                  <a:pt x="962" y="9357"/>
                  <a:pt x="973" y="9427"/>
                  <a:pt x="985" y="9498"/>
                </a:cubicBezTo>
                <a:lnTo>
                  <a:pt x="1018" y="9738"/>
                </a:lnTo>
                <a:cubicBezTo>
                  <a:pt x="1029" y="9817"/>
                  <a:pt x="1039" y="9897"/>
                  <a:pt x="1050" y="9976"/>
                </a:cubicBezTo>
                <a:lnTo>
                  <a:pt x="1077" y="10243"/>
                </a:lnTo>
                <a:cubicBezTo>
                  <a:pt x="1086" y="10331"/>
                  <a:pt x="1095" y="10419"/>
                  <a:pt x="1104" y="10508"/>
                </a:cubicBezTo>
                <a:lnTo>
                  <a:pt x="1104" y="10508"/>
                </a:lnTo>
                <a:lnTo>
                  <a:pt x="1116" y="10388"/>
                </a:lnTo>
                <a:cubicBezTo>
                  <a:pt x="1122" y="10340"/>
                  <a:pt x="1128" y="10291"/>
                  <a:pt x="1134" y="10243"/>
                </a:cubicBezTo>
                <a:cubicBezTo>
                  <a:pt x="1143" y="10181"/>
                  <a:pt x="1151" y="10118"/>
                  <a:pt x="1160" y="10056"/>
                </a:cubicBezTo>
                <a:cubicBezTo>
                  <a:pt x="1171" y="9980"/>
                  <a:pt x="1182" y="9906"/>
                  <a:pt x="1193" y="9831"/>
                </a:cubicBezTo>
                <a:cubicBezTo>
                  <a:pt x="1207" y="9751"/>
                  <a:pt x="1220" y="9671"/>
                  <a:pt x="1234" y="9591"/>
                </a:cubicBezTo>
                <a:lnTo>
                  <a:pt x="1285" y="9312"/>
                </a:lnTo>
                <a:cubicBezTo>
                  <a:pt x="1304" y="9219"/>
                  <a:pt x="1322" y="9125"/>
                  <a:pt x="1341" y="9032"/>
                </a:cubicBezTo>
                <a:cubicBezTo>
                  <a:pt x="1363" y="8939"/>
                  <a:pt x="1385" y="8847"/>
                  <a:pt x="1407" y="8754"/>
                </a:cubicBezTo>
                <a:cubicBezTo>
                  <a:pt x="1420" y="8705"/>
                  <a:pt x="1432" y="8656"/>
                  <a:pt x="1445" y="8608"/>
                </a:cubicBezTo>
                <a:cubicBezTo>
                  <a:pt x="1458" y="8564"/>
                  <a:pt x="1471" y="8519"/>
                  <a:pt x="1484" y="8475"/>
                </a:cubicBezTo>
                <a:cubicBezTo>
                  <a:pt x="1497" y="8430"/>
                  <a:pt x="1509" y="8386"/>
                  <a:pt x="1522" y="8342"/>
                </a:cubicBezTo>
                <a:cubicBezTo>
                  <a:pt x="1537" y="8297"/>
                  <a:pt x="1552" y="8253"/>
                  <a:pt x="1567" y="8208"/>
                </a:cubicBezTo>
                <a:cubicBezTo>
                  <a:pt x="1582" y="8164"/>
                  <a:pt x="1596" y="8121"/>
                  <a:pt x="1611" y="8076"/>
                </a:cubicBezTo>
                <a:cubicBezTo>
                  <a:pt x="1628" y="8036"/>
                  <a:pt x="1645" y="7997"/>
                  <a:pt x="1662" y="7956"/>
                </a:cubicBezTo>
                <a:cubicBezTo>
                  <a:pt x="1679" y="7916"/>
                  <a:pt x="1694" y="7877"/>
                  <a:pt x="1710" y="7837"/>
                </a:cubicBezTo>
                <a:cubicBezTo>
                  <a:pt x="1728" y="7801"/>
                  <a:pt x="1746" y="7765"/>
                  <a:pt x="1764" y="7730"/>
                </a:cubicBezTo>
                <a:cubicBezTo>
                  <a:pt x="1783" y="7699"/>
                  <a:pt x="1801" y="7668"/>
                  <a:pt x="1820" y="7637"/>
                </a:cubicBezTo>
                <a:cubicBezTo>
                  <a:pt x="1839" y="7606"/>
                  <a:pt x="1857" y="7575"/>
                  <a:pt x="1876" y="7544"/>
                </a:cubicBezTo>
                <a:cubicBezTo>
                  <a:pt x="1896" y="7523"/>
                  <a:pt x="1916" y="7500"/>
                  <a:pt x="1936" y="7478"/>
                </a:cubicBezTo>
                <a:cubicBezTo>
                  <a:pt x="1958" y="7456"/>
                  <a:pt x="1979" y="7433"/>
                  <a:pt x="2001" y="7411"/>
                </a:cubicBezTo>
                <a:cubicBezTo>
                  <a:pt x="2023" y="7394"/>
                  <a:pt x="2044" y="7376"/>
                  <a:pt x="2066" y="7358"/>
                </a:cubicBezTo>
                <a:cubicBezTo>
                  <a:pt x="2088" y="7345"/>
                  <a:pt x="2110" y="7331"/>
                  <a:pt x="2132" y="7318"/>
                </a:cubicBezTo>
                <a:lnTo>
                  <a:pt x="9018" y="7318"/>
                </a:lnTo>
                <a:lnTo>
                  <a:pt x="9018" y="7318"/>
                </a:lnTo>
                <a:lnTo>
                  <a:pt x="9045" y="7318"/>
                </a:lnTo>
                <a:lnTo>
                  <a:pt x="9077" y="7318"/>
                </a:lnTo>
                <a:cubicBezTo>
                  <a:pt x="9090" y="7314"/>
                  <a:pt x="9103" y="7309"/>
                  <a:pt x="9116" y="7305"/>
                </a:cubicBezTo>
                <a:cubicBezTo>
                  <a:pt x="9134" y="7297"/>
                  <a:pt x="9151" y="7287"/>
                  <a:pt x="9169" y="7279"/>
                </a:cubicBezTo>
                <a:lnTo>
                  <a:pt x="9226" y="7225"/>
                </a:lnTo>
                <a:cubicBezTo>
                  <a:pt x="9248" y="7204"/>
                  <a:pt x="9269" y="7181"/>
                  <a:pt x="9291" y="7159"/>
                </a:cubicBezTo>
                <a:cubicBezTo>
                  <a:pt x="9315" y="7124"/>
                  <a:pt x="9338" y="7088"/>
                  <a:pt x="9362" y="7053"/>
                </a:cubicBezTo>
                <a:cubicBezTo>
                  <a:pt x="9388" y="7004"/>
                  <a:pt x="9413" y="6955"/>
                  <a:pt x="9439" y="6906"/>
                </a:cubicBezTo>
                <a:lnTo>
                  <a:pt x="9478" y="6813"/>
                </a:lnTo>
                <a:cubicBezTo>
                  <a:pt x="9491" y="6782"/>
                  <a:pt x="9503" y="6751"/>
                  <a:pt x="9516" y="6720"/>
                </a:cubicBezTo>
                <a:cubicBezTo>
                  <a:pt x="9530" y="6685"/>
                  <a:pt x="9544" y="6649"/>
                  <a:pt x="9558" y="6614"/>
                </a:cubicBezTo>
                <a:cubicBezTo>
                  <a:pt x="9572" y="6574"/>
                  <a:pt x="9585" y="6534"/>
                  <a:pt x="9599" y="6494"/>
                </a:cubicBezTo>
                <a:lnTo>
                  <a:pt x="9641" y="6362"/>
                </a:lnTo>
                <a:lnTo>
                  <a:pt x="9683" y="6215"/>
                </a:lnTo>
                <a:cubicBezTo>
                  <a:pt x="9697" y="6163"/>
                  <a:pt x="9710" y="6109"/>
                  <a:pt x="9724" y="6056"/>
                </a:cubicBezTo>
                <a:cubicBezTo>
                  <a:pt x="9737" y="5998"/>
                  <a:pt x="9750" y="5941"/>
                  <a:pt x="9763" y="5883"/>
                </a:cubicBezTo>
                <a:cubicBezTo>
                  <a:pt x="9777" y="5817"/>
                  <a:pt x="9790" y="5750"/>
                  <a:pt x="9804" y="5684"/>
                </a:cubicBezTo>
                <a:cubicBezTo>
                  <a:pt x="9818" y="5617"/>
                  <a:pt x="9832" y="5550"/>
                  <a:pt x="9846" y="5484"/>
                </a:cubicBezTo>
                <a:cubicBezTo>
                  <a:pt x="9859" y="5409"/>
                  <a:pt x="9871" y="5333"/>
                  <a:pt x="9884" y="5258"/>
                </a:cubicBezTo>
                <a:cubicBezTo>
                  <a:pt x="9897" y="5179"/>
                  <a:pt x="9910" y="5099"/>
                  <a:pt x="9923" y="5020"/>
                </a:cubicBezTo>
                <a:cubicBezTo>
                  <a:pt x="9936" y="4935"/>
                  <a:pt x="9948" y="4851"/>
                  <a:pt x="9961" y="4767"/>
                </a:cubicBezTo>
                <a:lnTo>
                  <a:pt x="10000" y="4488"/>
                </a:lnTo>
                <a:lnTo>
                  <a:pt x="10006"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8" imgW="360" imgH="360" progId="">
              <p:embed/>
            </p:oleObj>
          </a:graphicData>
        </a:graphic>
      </p:graphicFrame>
      <p:sp>
        <p:nvSpPr>
          <p:cNvPr id="2" name="Title 1"/>
          <p:cNvSpPr>
            <a:spLocks noGrp="1"/>
          </p:cNvSpPr>
          <p:nvPr>
            <p:ph type="ctrTitle" hasCustomPrompt="1"/>
            <p:custDataLst>
              <p:tags r:id="rId2"/>
            </p:custDataLst>
          </p:nvPr>
        </p:nvSpPr>
        <p:spPr>
          <a:xfrm>
            <a:off x="493713" y="3204301"/>
            <a:ext cx="4046970" cy="366254"/>
          </a:xfrm>
        </p:spPr>
        <p:txBody>
          <a:bodyPr wrap="square" lIns="0" tIns="0" rIns="0" bIns="0">
            <a:spAutoFit/>
          </a:bodyPr>
          <a:lstStyle>
            <a:lvl1pPr algn="l">
              <a:defRPr sz="2800" b="0">
                <a:solidFill>
                  <a:schemeClr val="tx1"/>
                </a:solidFill>
                <a:latin typeface="Arial Narrow" pitchFamily="34" charset="0"/>
              </a:defRPr>
            </a:lvl1pPr>
          </a:lstStyle>
          <a:p>
            <a:r>
              <a:rPr lang="en-GB" dirty="0" smtClean="0">
                <a:solidFill>
                  <a:schemeClr val="bg1">
                    <a:lumMod val="75000"/>
                  </a:schemeClr>
                </a:solidFill>
              </a:rPr>
              <a:t>Title comes Here</a:t>
            </a:r>
            <a:endParaRPr lang="en-US" dirty="0"/>
          </a:p>
        </p:txBody>
      </p:sp>
      <p:sp>
        <p:nvSpPr>
          <p:cNvPr id="3" name="Subtitle 2"/>
          <p:cNvSpPr>
            <a:spLocks noGrp="1"/>
          </p:cNvSpPr>
          <p:nvPr>
            <p:ph type="subTitle" idx="1" hasCustomPrompt="1"/>
            <p:custDataLst>
              <p:tags r:id="rId3"/>
            </p:custDataLst>
          </p:nvPr>
        </p:nvSpPr>
        <p:spPr>
          <a:xfrm>
            <a:off x="493772" y="4551798"/>
            <a:ext cx="4047458" cy="276999"/>
          </a:xfrm>
        </p:spPr>
        <p:txBody>
          <a:bodyPr wrap="square" lIns="0" tIns="0" rIns="0" bIns="0">
            <a:spAutoFit/>
          </a:bodyPr>
          <a:lstStyle>
            <a:lvl1pPr marL="0" indent="0" algn="l">
              <a:buNone/>
              <a:defRPr sz="1800" b="0">
                <a:solidFill>
                  <a:schemeClr val="tx1"/>
                </a:solidFill>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GB" sz="1800" b="0" dirty="0" smtClean="0">
                <a:solidFill>
                  <a:schemeClr val="accent6"/>
                </a:solidFill>
              </a:rPr>
              <a:t>Sub Title / Date / Presenter</a:t>
            </a:r>
            <a:endParaRPr lang="en-GB" sz="1800" b="0" dirty="0">
              <a:solidFill>
                <a:schemeClr val="accent6"/>
              </a:solidFill>
            </a:endParaRPr>
          </a:p>
        </p:txBody>
      </p:sp>
      <p:sp>
        <p:nvSpPr>
          <p:cNvPr id="13" name="Freeform 6"/>
          <p:cNvSpPr>
            <a:spLocks/>
          </p:cNvSpPr>
          <p:nvPr userDrawn="1"/>
        </p:nvSpPr>
        <p:spPr bwMode="auto">
          <a:xfrm>
            <a:off x="0" y="764775"/>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8" name="Picture 17" descr="Capgemini_logo_cover.jpg"/>
          <p:cNvPicPr>
            <a:picLocks noChangeAspect="1"/>
          </p:cNvPicPr>
          <p:nvPr userDrawn="1"/>
        </p:nvPicPr>
        <p:blipFill>
          <a:blip r:embed="rId9"/>
          <a:stretch>
            <a:fillRect/>
          </a:stretch>
        </p:blipFill>
        <p:spPr>
          <a:xfrm>
            <a:off x="482184" y="440835"/>
            <a:ext cx="2305948" cy="546076"/>
          </a:xfrm>
          <a:prstGeom prst="rect">
            <a:avLst/>
          </a:prstGeom>
        </p:spPr>
      </p:pic>
      <p:sp>
        <p:nvSpPr>
          <p:cNvPr id="14" name="Rectangle 13"/>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7" name="Picture 104" descr="C:\Users\UserSim\Desktop\Capgemini\moto.emf"/>
          <p:cNvPicPr>
            <a:picLocks noChangeAspect="1" noChangeArrowheads="1"/>
          </p:cNvPicPr>
          <p:nvPr userDrawn="1">
            <p:custDataLst>
              <p:tags r:id="rId5"/>
            </p:custDataLst>
          </p:nvPr>
        </p:nvPicPr>
        <p:blipFill>
          <a:blip r:embed="rId10" cstate="email"/>
          <a:srcRect/>
          <a:stretch>
            <a:fillRect/>
          </a:stretch>
        </p:blipFill>
        <p:spPr bwMode="auto">
          <a:xfrm>
            <a:off x="7114350" y="6529926"/>
            <a:ext cx="2304288" cy="183504"/>
          </a:xfrm>
          <a:prstGeom prst="rect">
            <a:avLst/>
          </a:prstGeom>
          <a:noFill/>
        </p:spPr>
      </p:pic>
      <p:pic>
        <p:nvPicPr>
          <p:cNvPr id="1037" name="Picture 13">
            <a:hlinkClick r:id="" action="ppaction://hlinkshowjump?jump=nextslide"/>
          </p:cNvPr>
          <p:cNvPicPr>
            <a:picLocks noChangeAspect="1" noChangeArrowheads="1"/>
          </p:cNvPicPr>
          <p:nvPr userDrawn="1"/>
        </p:nvPicPr>
        <p:blipFill>
          <a:blip r:embed="rId11">
            <a:duotone>
              <a:prstClr val="black"/>
              <a:schemeClr val="accent5">
                <a:tint val="45000"/>
                <a:satMod val="400000"/>
              </a:schemeClr>
            </a:duotone>
          </a:blip>
          <a:srcRect/>
          <a:stretch>
            <a:fillRect/>
          </a:stretch>
        </p:blipFill>
        <p:spPr bwMode="auto">
          <a:xfrm>
            <a:off x="6408738" y="6521666"/>
            <a:ext cx="190500" cy="200025"/>
          </a:xfrm>
          <a:prstGeom prst="rect">
            <a:avLst/>
          </a:prstGeom>
          <a:noFill/>
          <a:ln w="9525">
            <a:noFill/>
            <a:miter lim="800000"/>
            <a:headEnd/>
            <a:tailEnd/>
          </a:ln>
          <a:effectLst/>
        </p:spPr>
      </p:pic>
      <p:pic>
        <p:nvPicPr>
          <p:cNvPr id="1036" name="Picture 12">
            <a:hlinkClick r:id="rId12" action="ppaction://hlinksldjump"/>
          </p:cNvPr>
          <p:cNvPicPr>
            <a:picLocks noChangeAspect="1" noChangeArrowheads="1"/>
          </p:cNvPicPr>
          <p:nvPr userDrawn="1"/>
        </p:nvPicPr>
        <p:blipFill>
          <a:blip r:embed="rId13">
            <a:duotone>
              <a:prstClr val="black"/>
              <a:schemeClr val="accent5">
                <a:tint val="45000"/>
                <a:satMod val="400000"/>
              </a:schemeClr>
            </a:duotone>
          </a:blip>
          <a:srcRect/>
          <a:stretch>
            <a:fillRect/>
          </a:stretch>
        </p:blipFill>
        <p:spPr bwMode="auto">
          <a:xfrm>
            <a:off x="1103314" y="6521094"/>
            <a:ext cx="193121" cy="201168"/>
          </a:xfrm>
          <a:prstGeom prst="rect">
            <a:avLst/>
          </a:prstGeom>
          <a:noFill/>
          <a:ln w="9525">
            <a:noFill/>
            <a:miter lim="800000"/>
            <a:headEnd/>
            <a:tailEnd/>
          </a:ln>
          <a:effectLst/>
        </p:spPr>
      </p:pic>
      <p:grpSp>
        <p:nvGrpSpPr>
          <p:cNvPr id="19" name="Group 5"/>
          <p:cNvGrpSpPr>
            <a:grpSpLocks noChangeAspect="1"/>
          </p:cNvGrpSpPr>
          <p:nvPr userDrawn="1"/>
        </p:nvGrpSpPr>
        <p:grpSpPr bwMode="auto">
          <a:xfrm>
            <a:off x="493713" y="5589588"/>
            <a:ext cx="9563100" cy="531812"/>
            <a:chOff x="216" y="3521"/>
            <a:chExt cx="6024" cy="335"/>
          </a:xfrm>
        </p:grpSpPr>
        <p:sp>
          <p:nvSpPr>
            <p:cNvPr id="20" name="AutoShape 4"/>
            <p:cNvSpPr>
              <a:spLocks noChangeAspect="1" noChangeArrowheads="1" noTextEdit="1"/>
            </p:cNvSpPr>
            <p:nvPr/>
          </p:nvSpPr>
          <p:spPr bwMode="auto">
            <a:xfrm>
              <a:off x="216" y="3521"/>
              <a:ext cx="6024" cy="33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p:cNvSpPr>
            <p:nvPr/>
          </p:nvSpPr>
          <p:spPr bwMode="auto">
            <a:xfrm>
              <a:off x="1764" y="3659"/>
              <a:ext cx="52" cy="123"/>
            </a:xfrm>
            <a:custGeom>
              <a:avLst/>
              <a:gdLst/>
              <a:ahLst/>
              <a:cxnLst>
                <a:cxn ang="0">
                  <a:pos x="25" y="170"/>
                </a:cxn>
                <a:cxn ang="0">
                  <a:pos x="23" y="141"/>
                </a:cxn>
                <a:cxn ang="0">
                  <a:pos x="15" y="139"/>
                </a:cxn>
                <a:cxn ang="0">
                  <a:pos x="15" y="139"/>
                </a:cxn>
                <a:cxn ang="0">
                  <a:pos x="12" y="137"/>
                </a:cxn>
                <a:cxn ang="0">
                  <a:pos x="8" y="133"/>
                </a:cxn>
                <a:cxn ang="0">
                  <a:pos x="6" y="127"/>
                </a:cxn>
                <a:cxn ang="0">
                  <a:pos x="4" y="122"/>
                </a:cxn>
                <a:cxn ang="0">
                  <a:pos x="0" y="36"/>
                </a:cxn>
                <a:cxn ang="0">
                  <a:pos x="0" y="36"/>
                </a:cxn>
                <a:cxn ang="0">
                  <a:pos x="0" y="30"/>
                </a:cxn>
                <a:cxn ang="0">
                  <a:pos x="2" y="26"/>
                </a:cxn>
                <a:cxn ang="0">
                  <a:pos x="8" y="16"/>
                </a:cxn>
                <a:cxn ang="0">
                  <a:pos x="17" y="10"/>
                </a:cxn>
                <a:cxn ang="0">
                  <a:pos x="31" y="4"/>
                </a:cxn>
                <a:cxn ang="0">
                  <a:pos x="45" y="0"/>
                </a:cxn>
                <a:cxn ang="0">
                  <a:pos x="60" y="0"/>
                </a:cxn>
                <a:cxn ang="0">
                  <a:pos x="76" y="0"/>
                </a:cxn>
                <a:cxn ang="0">
                  <a:pos x="92" y="2"/>
                </a:cxn>
                <a:cxn ang="0">
                  <a:pos x="92" y="2"/>
                </a:cxn>
                <a:cxn ang="0">
                  <a:pos x="88" y="14"/>
                </a:cxn>
                <a:cxn ang="0">
                  <a:pos x="88" y="26"/>
                </a:cxn>
                <a:cxn ang="0">
                  <a:pos x="92" y="131"/>
                </a:cxn>
                <a:cxn ang="0">
                  <a:pos x="92" y="131"/>
                </a:cxn>
                <a:cxn ang="0">
                  <a:pos x="94" y="141"/>
                </a:cxn>
                <a:cxn ang="0">
                  <a:pos x="95" y="149"/>
                </a:cxn>
                <a:cxn ang="0">
                  <a:pos x="99" y="155"/>
                </a:cxn>
                <a:cxn ang="0">
                  <a:pos x="103" y="161"/>
                </a:cxn>
                <a:cxn ang="0">
                  <a:pos x="97" y="241"/>
                </a:cxn>
                <a:cxn ang="0">
                  <a:pos x="97" y="241"/>
                </a:cxn>
                <a:cxn ang="0">
                  <a:pos x="95" y="245"/>
                </a:cxn>
                <a:cxn ang="0">
                  <a:pos x="92" y="247"/>
                </a:cxn>
                <a:cxn ang="0">
                  <a:pos x="37" y="247"/>
                </a:cxn>
                <a:cxn ang="0">
                  <a:pos x="37" y="247"/>
                </a:cxn>
                <a:cxn ang="0">
                  <a:pos x="37" y="247"/>
                </a:cxn>
                <a:cxn ang="0">
                  <a:pos x="33" y="245"/>
                </a:cxn>
                <a:cxn ang="0">
                  <a:pos x="31" y="241"/>
                </a:cxn>
                <a:cxn ang="0">
                  <a:pos x="27" y="207"/>
                </a:cxn>
              </a:cxnLst>
              <a:rect l="0" t="0" r="r" b="b"/>
              <a:pathLst>
                <a:path w="103" h="247">
                  <a:moveTo>
                    <a:pt x="25" y="170"/>
                  </a:moveTo>
                  <a:lnTo>
                    <a:pt x="23" y="141"/>
                  </a:lnTo>
                  <a:lnTo>
                    <a:pt x="15" y="139"/>
                  </a:lnTo>
                  <a:lnTo>
                    <a:pt x="15" y="139"/>
                  </a:lnTo>
                  <a:lnTo>
                    <a:pt x="12" y="137"/>
                  </a:lnTo>
                  <a:lnTo>
                    <a:pt x="8" y="133"/>
                  </a:lnTo>
                  <a:lnTo>
                    <a:pt x="6" y="127"/>
                  </a:lnTo>
                  <a:lnTo>
                    <a:pt x="4" y="122"/>
                  </a:lnTo>
                  <a:lnTo>
                    <a:pt x="0" y="36"/>
                  </a:lnTo>
                  <a:lnTo>
                    <a:pt x="0" y="36"/>
                  </a:lnTo>
                  <a:lnTo>
                    <a:pt x="0" y="30"/>
                  </a:lnTo>
                  <a:lnTo>
                    <a:pt x="2" y="26"/>
                  </a:lnTo>
                  <a:lnTo>
                    <a:pt x="8" y="16"/>
                  </a:lnTo>
                  <a:lnTo>
                    <a:pt x="17" y="10"/>
                  </a:lnTo>
                  <a:lnTo>
                    <a:pt x="31" y="4"/>
                  </a:lnTo>
                  <a:lnTo>
                    <a:pt x="45" y="0"/>
                  </a:lnTo>
                  <a:lnTo>
                    <a:pt x="60" y="0"/>
                  </a:lnTo>
                  <a:lnTo>
                    <a:pt x="76" y="0"/>
                  </a:lnTo>
                  <a:lnTo>
                    <a:pt x="92" y="2"/>
                  </a:lnTo>
                  <a:lnTo>
                    <a:pt x="92" y="2"/>
                  </a:lnTo>
                  <a:lnTo>
                    <a:pt x="88" y="14"/>
                  </a:lnTo>
                  <a:lnTo>
                    <a:pt x="88" y="26"/>
                  </a:lnTo>
                  <a:lnTo>
                    <a:pt x="92" y="131"/>
                  </a:lnTo>
                  <a:lnTo>
                    <a:pt x="92" y="131"/>
                  </a:lnTo>
                  <a:lnTo>
                    <a:pt x="94" y="141"/>
                  </a:lnTo>
                  <a:lnTo>
                    <a:pt x="95" y="149"/>
                  </a:lnTo>
                  <a:lnTo>
                    <a:pt x="99" y="155"/>
                  </a:lnTo>
                  <a:lnTo>
                    <a:pt x="103" y="161"/>
                  </a:lnTo>
                  <a:lnTo>
                    <a:pt x="97" y="241"/>
                  </a:lnTo>
                  <a:lnTo>
                    <a:pt x="97" y="241"/>
                  </a:lnTo>
                  <a:lnTo>
                    <a:pt x="95" y="245"/>
                  </a:lnTo>
                  <a:lnTo>
                    <a:pt x="92" y="247"/>
                  </a:lnTo>
                  <a:lnTo>
                    <a:pt x="37" y="247"/>
                  </a:lnTo>
                  <a:lnTo>
                    <a:pt x="37" y="247"/>
                  </a:lnTo>
                  <a:lnTo>
                    <a:pt x="37" y="247"/>
                  </a:lnTo>
                  <a:lnTo>
                    <a:pt x="33" y="245"/>
                  </a:lnTo>
                  <a:lnTo>
                    <a:pt x="31" y="241"/>
                  </a:lnTo>
                  <a:lnTo>
                    <a:pt x="27" y="20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
            <p:cNvSpPr>
              <a:spLocks/>
            </p:cNvSpPr>
            <p:nvPr/>
          </p:nvSpPr>
          <p:spPr bwMode="auto">
            <a:xfrm>
              <a:off x="1779" y="3614"/>
              <a:ext cx="34" cy="40"/>
            </a:xfrm>
            <a:custGeom>
              <a:avLst/>
              <a:gdLst/>
              <a:ahLst/>
              <a:cxnLst>
                <a:cxn ang="0">
                  <a:pos x="68" y="25"/>
                </a:cxn>
                <a:cxn ang="0">
                  <a:pos x="68" y="25"/>
                </a:cxn>
                <a:cxn ang="0">
                  <a:pos x="68" y="19"/>
                </a:cxn>
                <a:cxn ang="0">
                  <a:pos x="66" y="13"/>
                </a:cxn>
                <a:cxn ang="0">
                  <a:pos x="63" y="9"/>
                </a:cxn>
                <a:cxn ang="0">
                  <a:pos x="59" y="5"/>
                </a:cxn>
                <a:cxn ang="0">
                  <a:pos x="47" y="2"/>
                </a:cxn>
                <a:cxn ang="0">
                  <a:pos x="35" y="0"/>
                </a:cxn>
                <a:cxn ang="0">
                  <a:pos x="35" y="0"/>
                </a:cxn>
                <a:cxn ang="0">
                  <a:pos x="24" y="2"/>
                </a:cxn>
                <a:cxn ang="0">
                  <a:pos x="12" y="5"/>
                </a:cxn>
                <a:cxn ang="0">
                  <a:pos x="8" y="9"/>
                </a:cxn>
                <a:cxn ang="0">
                  <a:pos x="4" y="13"/>
                </a:cxn>
                <a:cxn ang="0">
                  <a:pos x="2" y="19"/>
                </a:cxn>
                <a:cxn ang="0">
                  <a:pos x="0" y="25"/>
                </a:cxn>
                <a:cxn ang="0">
                  <a:pos x="0" y="25"/>
                </a:cxn>
                <a:cxn ang="0">
                  <a:pos x="2" y="44"/>
                </a:cxn>
                <a:cxn ang="0">
                  <a:pos x="4" y="56"/>
                </a:cxn>
                <a:cxn ang="0">
                  <a:pos x="6" y="64"/>
                </a:cxn>
                <a:cxn ang="0">
                  <a:pos x="6" y="64"/>
                </a:cxn>
                <a:cxn ang="0">
                  <a:pos x="10" y="68"/>
                </a:cxn>
                <a:cxn ang="0">
                  <a:pos x="16" y="74"/>
                </a:cxn>
                <a:cxn ang="0">
                  <a:pos x="22" y="78"/>
                </a:cxn>
                <a:cxn ang="0">
                  <a:pos x="29" y="80"/>
                </a:cxn>
                <a:cxn ang="0">
                  <a:pos x="29" y="80"/>
                </a:cxn>
                <a:cxn ang="0">
                  <a:pos x="41" y="80"/>
                </a:cxn>
                <a:cxn ang="0">
                  <a:pos x="41" y="80"/>
                </a:cxn>
                <a:cxn ang="0">
                  <a:pos x="47" y="78"/>
                </a:cxn>
                <a:cxn ang="0">
                  <a:pos x="55" y="74"/>
                </a:cxn>
                <a:cxn ang="0">
                  <a:pos x="61" y="68"/>
                </a:cxn>
                <a:cxn ang="0">
                  <a:pos x="65" y="64"/>
                </a:cxn>
                <a:cxn ang="0">
                  <a:pos x="65" y="64"/>
                </a:cxn>
                <a:cxn ang="0">
                  <a:pos x="66" y="56"/>
                </a:cxn>
                <a:cxn ang="0">
                  <a:pos x="68" y="44"/>
                </a:cxn>
                <a:cxn ang="0">
                  <a:pos x="68" y="25"/>
                </a:cxn>
                <a:cxn ang="0">
                  <a:pos x="68" y="25"/>
                </a:cxn>
              </a:cxnLst>
              <a:rect l="0" t="0" r="r" b="b"/>
              <a:pathLst>
                <a:path w="68" h="80">
                  <a:moveTo>
                    <a:pt x="68" y="25"/>
                  </a:moveTo>
                  <a:lnTo>
                    <a:pt x="68" y="25"/>
                  </a:lnTo>
                  <a:lnTo>
                    <a:pt x="68" y="19"/>
                  </a:lnTo>
                  <a:lnTo>
                    <a:pt x="66" y="13"/>
                  </a:lnTo>
                  <a:lnTo>
                    <a:pt x="63" y="9"/>
                  </a:lnTo>
                  <a:lnTo>
                    <a:pt x="59" y="5"/>
                  </a:lnTo>
                  <a:lnTo>
                    <a:pt x="47" y="2"/>
                  </a:lnTo>
                  <a:lnTo>
                    <a:pt x="35" y="0"/>
                  </a:lnTo>
                  <a:lnTo>
                    <a:pt x="35" y="0"/>
                  </a:lnTo>
                  <a:lnTo>
                    <a:pt x="24" y="2"/>
                  </a:lnTo>
                  <a:lnTo>
                    <a:pt x="12" y="5"/>
                  </a:lnTo>
                  <a:lnTo>
                    <a:pt x="8" y="9"/>
                  </a:lnTo>
                  <a:lnTo>
                    <a:pt x="4" y="13"/>
                  </a:lnTo>
                  <a:lnTo>
                    <a:pt x="2" y="19"/>
                  </a:lnTo>
                  <a:lnTo>
                    <a:pt x="0" y="25"/>
                  </a:lnTo>
                  <a:lnTo>
                    <a:pt x="0" y="25"/>
                  </a:lnTo>
                  <a:lnTo>
                    <a:pt x="2" y="44"/>
                  </a:lnTo>
                  <a:lnTo>
                    <a:pt x="4" y="56"/>
                  </a:lnTo>
                  <a:lnTo>
                    <a:pt x="6" y="64"/>
                  </a:lnTo>
                  <a:lnTo>
                    <a:pt x="6" y="64"/>
                  </a:lnTo>
                  <a:lnTo>
                    <a:pt x="10" y="68"/>
                  </a:lnTo>
                  <a:lnTo>
                    <a:pt x="16" y="74"/>
                  </a:lnTo>
                  <a:lnTo>
                    <a:pt x="22" y="78"/>
                  </a:lnTo>
                  <a:lnTo>
                    <a:pt x="29" y="80"/>
                  </a:lnTo>
                  <a:lnTo>
                    <a:pt x="29" y="80"/>
                  </a:lnTo>
                  <a:lnTo>
                    <a:pt x="41" y="80"/>
                  </a:lnTo>
                  <a:lnTo>
                    <a:pt x="41" y="80"/>
                  </a:lnTo>
                  <a:lnTo>
                    <a:pt x="47" y="78"/>
                  </a:lnTo>
                  <a:lnTo>
                    <a:pt x="55" y="74"/>
                  </a:lnTo>
                  <a:lnTo>
                    <a:pt x="61" y="68"/>
                  </a:lnTo>
                  <a:lnTo>
                    <a:pt x="65" y="64"/>
                  </a:lnTo>
                  <a:lnTo>
                    <a:pt x="65" y="64"/>
                  </a:lnTo>
                  <a:lnTo>
                    <a:pt x="66" y="56"/>
                  </a:lnTo>
                  <a:lnTo>
                    <a:pt x="68" y="44"/>
                  </a:lnTo>
                  <a:lnTo>
                    <a:pt x="68" y="25"/>
                  </a:lnTo>
                  <a:lnTo>
                    <a:pt x="68" y="2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
            <p:cNvSpPr>
              <a:spLocks/>
            </p:cNvSpPr>
            <p:nvPr/>
          </p:nvSpPr>
          <p:spPr bwMode="auto">
            <a:xfrm>
              <a:off x="2054" y="3659"/>
              <a:ext cx="52" cy="123"/>
            </a:xfrm>
            <a:custGeom>
              <a:avLst/>
              <a:gdLst/>
              <a:ahLst/>
              <a:cxnLst>
                <a:cxn ang="0">
                  <a:pos x="78" y="174"/>
                </a:cxn>
                <a:cxn ang="0">
                  <a:pos x="80" y="141"/>
                </a:cxn>
                <a:cxn ang="0">
                  <a:pos x="87" y="139"/>
                </a:cxn>
                <a:cxn ang="0">
                  <a:pos x="87" y="139"/>
                </a:cxn>
                <a:cxn ang="0">
                  <a:pos x="93" y="137"/>
                </a:cxn>
                <a:cxn ang="0">
                  <a:pos x="95" y="133"/>
                </a:cxn>
                <a:cxn ang="0">
                  <a:pos x="97" y="127"/>
                </a:cxn>
                <a:cxn ang="0">
                  <a:pos x="99" y="122"/>
                </a:cxn>
                <a:cxn ang="0">
                  <a:pos x="103" y="36"/>
                </a:cxn>
                <a:cxn ang="0">
                  <a:pos x="103" y="36"/>
                </a:cxn>
                <a:cxn ang="0">
                  <a:pos x="103" y="30"/>
                </a:cxn>
                <a:cxn ang="0">
                  <a:pos x="101" y="26"/>
                </a:cxn>
                <a:cxn ang="0">
                  <a:pos x="95" y="16"/>
                </a:cxn>
                <a:cxn ang="0">
                  <a:pos x="85" y="10"/>
                </a:cxn>
                <a:cxn ang="0">
                  <a:pos x="72" y="4"/>
                </a:cxn>
                <a:cxn ang="0">
                  <a:pos x="58" y="0"/>
                </a:cxn>
                <a:cxn ang="0">
                  <a:pos x="42" y="0"/>
                </a:cxn>
                <a:cxn ang="0">
                  <a:pos x="27" y="0"/>
                </a:cxn>
                <a:cxn ang="0">
                  <a:pos x="11" y="2"/>
                </a:cxn>
                <a:cxn ang="0">
                  <a:pos x="11" y="2"/>
                </a:cxn>
                <a:cxn ang="0">
                  <a:pos x="15" y="14"/>
                </a:cxn>
                <a:cxn ang="0">
                  <a:pos x="17" y="26"/>
                </a:cxn>
                <a:cxn ang="0">
                  <a:pos x="11" y="131"/>
                </a:cxn>
                <a:cxn ang="0">
                  <a:pos x="11" y="131"/>
                </a:cxn>
                <a:cxn ang="0">
                  <a:pos x="9" y="141"/>
                </a:cxn>
                <a:cxn ang="0">
                  <a:pos x="7" y="149"/>
                </a:cxn>
                <a:cxn ang="0">
                  <a:pos x="5" y="155"/>
                </a:cxn>
                <a:cxn ang="0">
                  <a:pos x="0" y="161"/>
                </a:cxn>
                <a:cxn ang="0">
                  <a:pos x="5" y="241"/>
                </a:cxn>
                <a:cxn ang="0">
                  <a:pos x="5" y="241"/>
                </a:cxn>
                <a:cxn ang="0">
                  <a:pos x="7" y="245"/>
                </a:cxn>
                <a:cxn ang="0">
                  <a:pos x="13" y="247"/>
                </a:cxn>
                <a:cxn ang="0">
                  <a:pos x="66" y="247"/>
                </a:cxn>
                <a:cxn ang="0">
                  <a:pos x="66" y="247"/>
                </a:cxn>
                <a:cxn ang="0">
                  <a:pos x="66" y="247"/>
                </a:cxn>
                <a:cxn ang="0">
                  <a:pos x="72" y="245"/>
                </a:cxn>
                <a:cxn ang="0">
                  <a:pos x="74" y="241"/>
                </a:cxn>
                <a:cxn ang="0">
                  <a:pos x="76" y="207"/>
                </a:cxn>
              </a:cxnLst>
              <a:rect l="0" t="0" r="r" b="b"/>
              <a:pathLst>
                <a:path w="103" h="247">
                  <a:moveTo>
                    <a:pt x="78" y="174"/>
                  </a:moveTo>
                  <a:lnTo>
                    <a:pt x="80" y="141"/>
                  </a:lnTo>
                  <a:lnTo>
                    <a:pt x="87" y="139"/>
                  </a:lnTo>
                  <a:lnTo>
                    <a:pt x="87" y="139"/>
                  </a:lnTo>
                  <a:lnTo>
                    <a:pt x="93" y="137"/>
                  </a:lnTo>
                  <a:lnTo>
                    <a:pt x="95" y="133"/>
                  </a:lnTo>
                  <a:lnTo>
                    <a:pt x="97" y="127"/>
                  </a:lnTo>
                  <a:lnTo>
                    <a:pt x="99" y="122"/>
                  </a:lnTo>
                  <a:lnTo>
                    <a:pt x="103" y="36"/>
                  </a:lnTo>
                  <a:lnTo>
                    <a:pt x="103" y="36"/>
                  </a:lnTo>
                  <a:lnTo>
                    <a:pt x="103" y="30"/>
                  </a:lnTo>
                  <a:lnTo>
                    <a:pt x="101" y="26"/>
                  </a:lnTo>
                  <a:lnTo>
                    <a:pt x="95" y="16"/>
                  </a:lnTo>
                  <a:lnTo>
                    <a:pt x="85" y="10"/>
                  </a:lnTo>
                  <a:lnTo>
                    <a:pt x="72" y="4"/>
                  </a:lnTo>
                  <a:lnTo>
                    <a:pt x="58" y="0"/>
                  </a:lnTo>
                  <a:lnTo>
                    <a:pt x="42" y="0"/>
                  </a:lnTo>
                  <a:lnTo>
                    <a:pt x="27" y="0"/>
                  </a:lnTo>
                  <a:lnTo>
                    <a:pt x="11" y="2"/>
                  </a:lnTo>
                  <a:lnTo>
                    <a:pt x="11" y="2"/>
                  </a:lnTo>
                  <a:lnTo>
                    <a:pt x="15" y="14"/>
                  </a:lnTo>
                  <a:lnTo>
                    <a:pt x="17" y="26"/>
                  </a:lnTo>
                  <a:lnTo>
                    <a:pt x="11" y="131"/>
                  </a:lnTo>
                  <a:lnTo>
                    <a:pt x="11" y="131"/>
                  </a:lnTo>
                  <a:lnTo>
                    <a:pt x="9" y="141"/>
                  </a:lnTo>
                  <a:lnTo>
                    <a:pt x="7" y="149"/>
                  </a:lnTo>
                  <a:lnTo>
                    <a:pt x="5" y="155"/>
                  </a:lnTo>
                  <a:lnTo>
                    <a:pt x="0" y="161"/>
                  </a:lnTo>
                  <a:lnTo>
                    <a:pt x="5" y="241"/>
                  </a:lnTo>
                  <a:lnTo>
                    <a:pt x="5" y="241"/>
                  </a:lnTo>
                  <a:lnTo>
                    <a:pt x="7" y="245"/>
                  </a:lnTo>
                  <a:lnTo>
                    <a:pt x="13" y="247"/>
                  </a:lnTo>
                  <a:lnTo>
                    <a:pt x="66" y="247"/>
                  </a:lnTo>
                  <a:lnTo>
                    <a:pt x="66" y="247"/>
                  </a:lnTo>
                  <a:lnTo>
                    <a:pt x="66" y="247"/>
                  </a:lnTo>
                  <a:lnTo>
                    <a:pt x="72" y="245"/>
                  </a:lnTo>
                  <a:lnTo>
                    <a:pt x="74" y="241"/>
                  </a:lnTo>
                  <a:lnTo>
                    <a:pt x="76" y="20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9"/>
            <p:cNvSpPr>
              <a:spLocks/>
            </p:cNvSpPr>
            <p:nvPr/>
          </p:nvSpPr>
          <p:spPr bwMode="auto">
            <a:xfrm>
              <a:off x="2057" y="3614"/>
              <a:ext cx="34" cy="40"/>
            </a:xfrm>
            <a:custGeom>
              <a:avLst/>
              <a:gdLst/>
              <a:ahLst/>
              <a:cxnLst>
                <a:cxn ang="0">
                  <a:pos x="0" y="25"/>
                </a:cxn>
                <a:cxn ang="0">
                  <a:pos x="0" y="25"/>
                </a:cxn>
                <a:cxn ang="0">
                  <a:pos x="0" y="19"/>
                </a:cxn>
                <a:cxn ang="0">
                  <a:pos x="4" y="13"/>
                </a:cxn>
                <a:cxn ang="0">
                  <a:pos x="6" y="9"/>
                </a:cxn>
                <a:cxn ang="0">
                  <a:pos x="12" y="5"/>
                </a:cxn>
                <a:cxn ang="0">
                  <a:pos x="22" y="2"/>
                </a:cxn>
                <a:cxn ang="0">
                  <a:pos x="34" y="0"/>
                </a:cxn>
                <a:cxn ang="0">
                  <a:pos x="34" y="0"/>
                </a:cxn>
                <a:cxn ang="0">
                  <a:pos x="47" y="2"/>
                </a:cxn>
                <a:cxn ang="0">
                  <a:pos x="57" y="5"/>
                </a:cxn>
                <a:cxn ang="0">
                  <a:pos x="61" y="9"/>
                </a:cxn>
                <a:cxn ang="0">
                  <a:pos x="65" y="13"/>
                </a:cxn>
                <a:cxn ang="0">
                  <a:pos x="67" y="19"/>
                </a:cxn>
                <a:cxn ang="0">
                  <a:pos x="69" y="25"/>
                </a:cxn>
                <a:cxn ang="0">
                  <a:pos x="69" y="25"/>
                </a:cxn>
                <a:cxn ang="0">
                  <a:pos x="67" y="44"/>
                </a:cxn>
                <a:cxn ang="0">
                  <a:pos x="65" y="56"/>
                </a:cxn>
                <a:cxn ang="0">
                  <a:pos x="63" y="64"/>
                </a:cxn>
                <a:cxn ang="0">
                  <a:pos x="63" y="64"/>
                </a:cxn>
                <a:cxn ang="0">
                  <a:pos x="59" y="68"/>
                </a:cxn>
                <a:cxn ang="0">
                  <a:pos x="53" y="74"/>
                </a:cxn>
                <a:cxn ang="0">
                  <a:pos x="47" y="78"/>
                </a:cxn>
                <a:cxn ang="0">
                  <a:pos x="39" y="80"/>
                </a:cxn>
                <a:cxn ang="0">
                  <a:pos x="39" y="80"/>
                </a:cxn>
                <a:cxn ang="0">
                  <a:pos x="30" y="80"/>
                </a:cxn>
                <a:cxn ang="0">
                  <a:pos x="30" y="80"/>
                </a:cxn>
                <a:cxn ang="0">
                  <a:pos x="22" y="78"/>
                </a:cxn>
                <a:cxn ang="0">
                  <a:pos x="14" y="74"/>
                </a:cxn>
                <a:cxn ang="0">
                  <a:pos x="10" y="68"/>
                </a:cxn>
                <a:cxn ang="0">
                  <a:pos x="6" y="64"/>
                </a:cxn>
                <a:cxn ang="0">
                  <a:pos x="6" y="64"/>
                </a:cxn>
                <a:cxn ang="0">
                  <a:pos x="2" y="56"/>
                </a:cxn>
                <a:cxn ang="0">
                  <a:pos x="0" y="44"/>
                </a:cxn>
                <a:cxn ang="0">
                  <a:pos x="0" y="25"/>
                </a:cxn>
                <a:cxn ang="0">
                  <a:pos x="0" y="25"/>
                </a:cxn>
              </a:cxnLst>
              <a:rect l="0" t="0" r="r" b="b"/>
              <a:pathLst>
                <a:path w="69" h="80">
                  <a:moveTo>
                    <a:pt x="0" y="25"/>
                  </a:moveTo>
                  <a:lnTo>
                    <a:pt x="0" y="25"/>
                  </a:lnTo>
                  <a:lnTo>
                    <a:pt x="0" y="19"/>
                  </a:lnTo>
                  <a:lnTo>
                    <a:pt x="4" y="13"/>
                  </a:lnTo>
                  <a:lnTo>
                    <a:pt x="6" y="9"/>
                  </a:lnTo>
                  <a:lnTo>
                    <a:pt x="12" y="5"/>
                  </a:lnTo>
                  <a:lnTo>
                    <a:pt x="22" y="2"/>
                  </a:lnTo>
                  <a:lnTo>
                    <a:pt x="34" y="0"/>
                  </a:lnTo>
                  <a:lnTo>
                    <a:pt x="34" y="0"/>
                  </a:lnTo>
                  <a:lnTo>
                    <a:pt x="47" y="2"/>
                  </a:lnTo>
                  <a:lnTo>
                    <a:pt x="57" y="5"/>
                  </a:lnTo>
                  <a:lnTo>
                    <a:pt x="61" y="9"/>
                  </a:lnTo>
                  <a:lnTo>
                    <a:pt x="65" y="13"/>
                  </a:lnTo>
                  <a:lnTo>
                    <a:pt x="67" y="19"/>
                  </a:lnTo>
                  <a:lnTo>
                    <a:pt x="69" y="25"/>
                  </a:lnTo>
                  <a:lnTo>
                    <a:pt x="69" y="25"/>
                  </a:lnTo>
                  <a:lnTo>
                    <a:pt x="67" y="44"/>
                  </a:lnTo>
                  <a:lnTo>
                    <a:pt x="65" y="56"/>
                  </a:lnTo>
                  <a:lnTo>
                    <a:pt x="63" y="64"/>
                  </a:lnTo>
                  <a:lnTo>
                    <a:pt x="63" y="64"/>
                  </a:lnTo>
                  <a:lnTo>
                    <a:pt x="59" y="68"/>
                  </a:lnTo>
                  <a:lnTo>
                    <a:pt x="53" y="74"/>
                  </a:lnTo>
                  <a:lnTo>
                    <a:pt x="47" y="78"/>
                  </a:lnTo>
                  <a:lnTo>
                    <a:pt x="39" y="80"/>
                  </a:lnTo>
                  <a:lnTo>
                    <a:pt x="39" y="80"/>
                  </a:lnTo>
                  <a:lnTo>
                    <a:pt x="30" y="80"/>
                  </a:lnTo>
                  <a:lnTo>
                    <a:pt x="30" y="80"/>
                  </a:lnTo>
                  <a:lnTo>
                    <a:pt x="22" y="78"/>
                  </a:lnTo>
                  <a:lnTo>
                    <a:pt x="14" y="74"/>
                  </a:lnTo>
                  <a:lnTo>
                    <a:pt x="10" y="68"/>
                  </a:lnTo>
                  <a:lnTo>
                    <a:pt x="6" y="64"/>
                  </a:lnTo>
                  <a:lnTo>
                    <a:pt x="6" y="64"/>
                  </a:lnTo>
                  <a:lnTo>
                    <a:pt x="2" y="56"/>
                  </a:lnTo>
                  <a:lnTo>
                    <a:pt x="0" y="44"/>
                  </a:lnTo>
                  <a:lnTo>
                    <a:pt x="0" y="25"/>
                  </a:lnTo>
                  <a:lnTo>
                    <a:pt x="0" y="2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p:cNvSpPr>
            <p:nvPr/>
          </p:nvSpPr>
          <p:spPr bwMode="auto">
            <a:xfrm>
              <a:off x="1988" y="3649"/>
              <a:ext cx="65" cy="154"/>
            </a:xfrm>
            <a:custGeom>
              <a:avLst/>
              <a:gdLst/>
              <a:ahLst/>
              <a:cxnLst>
                <a:cxn ang="0">
                  <a:pos x="93" y="262"/>
                </a:cxn>
                <a:cxn ang="0">
                  <a:pos x="92" y="301"/>
                </a:cxn>
                <a:cxn ang="0">
                  <a:pos x="92" y="301"/>
                </a:cxn>
                <a:cxn ang="0">
                  <a:pos x="88" y="307"/>
                </a:cxn>
                <a:cxn ang="0">
                  <a:pos x="86" y="309"/>
                </a:cxn>
                <a:cxn ang="0">
                  <a:pos x="82" y="309"/>
                </a:cxn>
                <a:cxn ang="0">
                  <a:pos x="82" y="309"/>
                </a:cxn>
                <a:cxn ang="0">
                  <a:pos x="15" y="309"/>
                </a:cxn>
                <a:cxn ang="0">
                  <a:pos x="15" y="309"/>
                </a:cxn>
                <a:cxn ang="0">
                  <a:pos x="11" y="309"/>
                </a:cxn>
                <a:cxn ang="0">
                  <a:pos x="10" y="307"/>
                </a:cxn>
                <a:cxn ang="0">
                  <a:pos x="8" y="303"/>
                </a:cxn>
                <a:cxn ang="0">
                  <a:pos x="6" y="301"/>
                </a:cxn>
                <a:cxn ang="0">
                  <a:pos x="0" y="201"/>
                </a:cxn>
                <a:cxn ang="0">
                  <a:pos x="0" y="201"/>
                </a:cxn>
                <a:cxn ang="0">
                  <a:pos x="4" y="193"/>
                </a:cxn>
                <a:cxn ang="0">
                  <a:pos x="8" y="185"/>
                </a:cxn>
                <a:cxn ang="0">
                  <a:pos x="10" y="176"/>
                </a:cxn>
                <a:cxn ang="0">
                  <a:pos x="11" y="166"/>
                </a:cxn>
                <a:cxn ang="0">
                  <a:pos x="17" y="31"/>
                </a:cxn>
                <a:cxn ang="0">
                  <a:pos x="17" y="31"/>
                </a:cxn>
                <a:cxn ang="0">
                  <a:pos x="17" y="16"/>
                </a:cxn>
                <a:cxn ang="0">
                  <a:pos x="13" y="4"/>
                </a:cxn>
                <a:cxn ang="0">
                  <a:pos x="13" y="4"/>
                </a:cxn>
                <a:cxn ang="0">
                  <a:pos x="33" y="0"/>
                </a:cxn>
                <a:cxn ang="0">
                  <a:pos x="52" y="0"/>
                </a:cxn>
                <a:cxn ang="0">
                  <a:pos x="72" y="0"/>
                </a:cxn>
                <a:cxn ang="0">
                  <a:pos x="90" y="4"/>
                </a:cxn>
                <a:cxn ang="0">
                  <a:pos x="105" y="12"/>
                </a:cxn>
                <a:cxn ang="0">
                  <a:pos x="119" y="19"/>
                </a:cxn>
                <a:cxn ang="0">
                  <a:pos x="123" y="25"/>
                </a:cxn>
                <a:cxn ang="0">
                  <a:pos x="127" y="31"/>
                </a:cxn>
                <a:cxn ang="0">
                  <a:pos x="129" y="37"/>
                </a:cxn>
                <a:cxn ang="0">
                  <a:pos x="129" y="45"/>
                </a:cxn>
                <a:cxn ang="0">
                  <a:pos x="123" y="150"/>
                </a:cxn>
                <a:cxn ang="0">
                  <a:pos x="123" y="150"/>
                </a:cxn>
                <a:cxn ang="0">
                  <a:pos x="123" y="158"/>
                </a:cxn>
                <a:cxn ang="0">
                  <a:pos x="119" y="164"/>
                </a:cxn>
                <a:cxn ang="0">
                  <a:pos x="115" y="170"/>
                </a:cxn>
                <a:cxn ang="0">
                  <a:pos x="109" y="172"/>
                </a:cxn>
                <a:cxn ang="0">
                  <a:pos x="99" y="176"/>
                </a:cxn>
                <a:cxn ang="0">
                  <a:pos x="97" y="217"/>
                </a:cxn>
              </a:cxnLst>
              <a:rect l="0" t="0" r="r" b="b"/>
              <a:pathLst>
                <a:path w="129" h="309">
                  <a:moveTo>
                    <a:pt x="93" y="262"/>
                  </a:moveTo>
                  <a:lnTo>
                    <a:pt x="92" y="301"/>
                  </a:lnTo>
                  <a:lnTo>
                    <a:pt x="92" y="301"/>
                  </a:lnTo>
                  <a:lnTo>
                    <a:pt x="88" y="307"/>
                  </a:lnTo>
                  <a:lnTo>
                    <a:pt x="86" y="309"/>
                  </a:lnTo>
                  <a:lnTo>
                    <a:pt x="82" y="309"/>
                  </a:lnTo>
                  <a:lnTo>
                    <a:pt x="82" y="309"/>
                  </a:lnTo>
                  <a:lnTo>
                    <a:pt x="15" y="309"/>
                  </a:lnTo>
                  <a:lnTo>
                    <a:pt x="15" y="309"/>
                  </a:lnTo>
                  <a:lnTo>
                    <a:pt x="11" y="309"/>
                  </a:lnTo>
                  <a:lnTo>
                    <a:pt x="10" y="307"/>
                  </a:lnTo>
                  <a:lnTo>
                    <a:pt x="8" y="303"/>
                  </a:lnTo>
                  <a:lnTo>
                    <a:pt x="6" y="301"/>
                  </a:lnTo>
                  <a:lnTo>
                    <a:pt x="0" y="201"/>
                  </a:lnTo>
                  <a:lnTo>
                    <a:pt x="0" y="201"/>
                  </a:lnTo>
                  <a:lnTo>
                    <a:pt x="4" y="193"/>
                  </a:lnTo>
                  <a:lnTo>
                    <a:pt x="8" y="185"/>
                  </a:lnTo>
                  <a:lnTo>
                    <a:pt x="10" y="176"/>
                  </a:lnTo>
                  <a:lnTo>
                    <a:pt x="11" y="166"/>
                  </a:lnTo>
                  <a:lnTo>
                    <a:pt x="17" y="31"/>
                  </a:lnTo>
                  <a:lnTo>
                    <a:pt x="17" y="31"/>
                  </a:lnTo>
                  <a:lnTo>
                    <a:pt x="17" y="16"/>
                  </a:lnTo>
                  <a:lnTo>
                    <a:pt x="13" y="4"/>
                  </a:lnTo>
                  <a:lnTo>
                    <a:pt x="13" y="4"/>
                  </a:lnTo>
                  <a:lnTo>
                    <a:pt x="33" y="0"/>
                  </a:lnTo>
                  <a:lnTo>
                    <a:pt x="52" y="0"/>
                  </a:lnTo>
                  <a:lnTo>
                    <a:pt x="72" y="0"/>
                  </a:lnTo>
                  <a:lnTo>
                    <a:pt x="90" y="4"/>
                  </a:lnTo>
                  <a:lnTo>
                    <a:pt x="105" y="12"/>
                  </a:lnTo>
                  <a:lnTo>
                    <a:pt x="119" y="19"/>
                  </a:lnTo>
                  <a:lnTo>
                    <a:pt x="123" y="25"/>
                  </a:lnTo>
                  <a:lnTo>
                    <a:pt x="127" y="31"/>
                  </a:lnTo>
                  <a:lnTo>
                    <a:pt x="129" y="37"/>
                  </a:lnTo>
                  <a:lnTo>
                    <a:pt x="129" y="45"/>
                  </a:lnTo>
                  <a:lnTo>
                    <a:pt x="123" y="150"/>
                  </a:lnTo>
                  <a:lnTo>
                    <a:pt x="123" y="150"/>
                  </a:lnTo>
                  <a:lnTo>
                    <a:pt x="123" y="158"/>
                  </a:lnTo>
                  <a:lnTo>
                    <a:pt x="119" y="164"/>
                  </a:lnTo>
                  <a:lnTo>
                    <a:pt x="115" y="170"/>
                  </a:lnTo>
                  <a:lnTo>
                    <a:pt x="109" y="172"/>
                  </a:lnTo>
                  <a:lnTo>
                    <a:pt x="99" y="176"/>
                  </a:lnTo>
                  <a:lnTo>
                    <a:pt x="97" y="21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1"/>
            <p:cNvSpPr>
              <a:spLocks/>
            </p:cNvSpPr>
            <p:nvPr/>
          </p:nvSpPr>
          <p:spPr bwMode="auto">
            <a:xfrm>
              <a:off x="1991" y="3592"/>
              <a:ext cx="43" cy="51"/>
            </a:xfrm>
            <a:custGeom>
              <a:avLst/>
              <a:gdLst/>
              <a:ahLst/>
              <a:cxnLst>
                <a:cxn ang="0">
                  <a:pos x="0" y="33"/>
                </a:cxn>
                <a:cxn ang="0">
                  <a:pos x="0" y="33"/>
                </a:cxn>
                <a:cxn ang="0">
                  <a:pos x="2" y="25"/>
                </a:cxn>
                <a:cxn ang="0">
                  <a:pos x="4" y="19"/>
                </a:cxn>
                <a:cxn ang="0">
                  <a:pos x="9" y="13"/>
                </a:cxn>
                <a:cxn ang="0">
                  <a:pos x="13" y="7"/>
                </a:cxn>
                <a:cxn ang="0">
                  <a:pos x="21" y="5"/>
                </a:cxn>
                <a:cxn ang="0">
                  <a:pos x="27" y="2"/>
                </a:cxn>
                <a:cxn ang="0">
                  <a:pos x="43" y="0"/>
                </a:cxn>
                <a:cxn ang="0">
                  <a:pos x="43" y="0"/>
                </a:cxn>
                <a:cxn ang="0">
                  <a:pos x="58" y="2"/>
                </a:cxn>
                <a:cxn ang="0">
                  <a:pos x="66" y="5"/>
                </a:cxn>
                <a:cxn ang="0">
                  <a:pos x="72" y="7"/>
                </a:cxn>
                <a:cxn ang="0">
                  <a:pos x="78" y="13"/>
                </a:cxn>
                <a:cxn ang="0">
                  <a:pos x="82" y="19"/>
                </a:cxn>
                <a:cxn ang="0">
                  <a:pos x="84" y="25"/>
                </a:cxn>
                <a:cxn ang="0">
                  <a:pos x="86" y="33"/>
                </a:cxn>
                <a:cxn ang="0">
                  <a:pos x="86" y="33"/>
                </a:cxn>
                <a:cxn ang="0">
                  <a:pos x="86" y="43"/>
                </a:cxn>
                <a:cxn ang="0">
                  <a:pos x="86" y="56"/>
                </a:cxn>
                <a:cxn ang="0">
                  <a:pos x="82" y="70"/>
                </a:cxn>
                <a:cxn ang="0">
                  <a:pos x="78" y="80"/>
                </a:cxn>
                <a:cxn ang="0">
                  <a:pos x="78" y="80"/>
                </a:cxn>
                <a:cxn ang="0">
                  <a:pos x="74" y="87"/>
                </a:cxn>
                <a:cxn ang="0">
                  <a:pos x="68" y="93"/>
                </a:cxn>
                <a:cxn ang="0">
                  <a:pos x="58" y="97"/>
                </a:cxn>
                <a:cxn ang="0">
                  <a:pos x="50" y="101"/>
                </a:cxn>
                <a:cxn ang="0">
                  <a:pos x="50" y="101"/>
                </a:cxn>
                <a:cxn ang="0">
                  <a:pos x="43" y="101"/>
                </a:cxn>
                <a:cxn ang="0">
                  <a:pos x="37" y="101"/>
                </a:cxn>
                <a:cxn ang="0">
                  <a:pos x="37" y="101"/>
                </a:cxn>
                <a:cxn ang="0">
                  <a:pos x="27" y="97"/>
                </a:cxn>
                <a:cxn ang="0">
                  <a:pos x="19" y="93"/>
                </a:cxn>
                <a:cxn ang="0">
                  <a:pos x="11" y="87"/>
                </a:cxn>
                <a:cxn ang="0">
                  <a:pos x="7" y="80"/>
                </a:cxn>
                <a:cxn ang="0">
                  <a:pos x="7" y="80"/>
                </a:cxn>
                <a:cxn ang="0">
                  <a:pos x="4" y="70"/>
                </a:cxn>
                <a:cxn ang="0">
                  <a:pos x="2" y="56"/>
                </a:cxn>
                <a:cxn ang="0">
                  <a:pos x="0" y="43"/>
                </a:cxn>
                <a:cxn ang="0">
                  <a:pos x="0" y="33"/>
                </a:cxn>
                <a:cxn ang="0">
                  <a:pos x="0" y="33"/>
                </a:cxn>
              </a:cxnLst>
              <a:rect l="0" t="0" r="r" b="b"/>
              <a:pathLst>
                <a:path w="86" h="101">
                  <a:moveTo>
                    <a:pt x="0" y="33"/>
                  </a:moveTo>
                  <a:lnTo>
                    <a:pt x="0" y="33"/>
                  </a:lnTo>
                  <a:lnTo>
                    <a:pt x="2" y="25"/>
                  </a:lnTo>
                  <a:lnTo>
                    <a:pt x="4" y="19"/>
                  </a:lnTo>
                  <a:lnTo>
                    <a:pt x="9" y="13"/>
                  </a:lnTo>
                  <a:lnTo>
                    <a:pt x="13" y="7"/>
                  </a:lnTo>
                  <a:lnTo>
                    <a:pt x="21" y="5"/>
                  </a:lnTo>
                  <a:lnTo>
                    <a:pt x="27" y="2"/>
                  </a:lnTo>
                  <a:lnTo>
                    <a:pt x="43" y="0"/>
                  </a:lnTo>
                  <a:lnTo>
                    <a:pt x="43" y="0"/>
                  </a:lnTo>
                  <a:lnTo>
                    <a:pt x="58" y="2"/>
                  </a:lnTo>
                  <a:lnTo>
                    <a:pt x="66" y="5"/>
                  </a:lnTo>
                  <a:lnTo>
                    <a:pt x="72" y="7"/>
                  </a:lnTo>
                  <a:lnTo>
                    <a:pt x="78" y="13"/>
                  </a:lnTo>
                  <a:lnTo>
                    <a:pt x="82" y="19"/>
                  </a:lnTo>
                  <a:lnTo>
                    <a:pt x="84" y="25"/>
                  </a:lnTo>
                  <a:lnTo>
                    <a:pt x="86" y="33"/>
                  </a:lnTo>
                  <a:lnTo>
                    <a:pt x="86" y="33"/>
                  </a:lnTo>
                  <a:lnTo>
                    <a:pt x="86" y="43"/>
                  </a:lnTo>
                  <a:lnTo>
                    <a:pt x="86" y="56"/>
                  </a:lnTo>
                  <a:lnTo>
                    <a:pt x="82" y="70"/>
                  </a:lnTo>
                  <a:lnTo>
                    <a:pt x="78" y="80"/>
                  </a:lnTo>
                  <a:lnTo>
                    <a:pt x="78" y="80"/>
                  </a:lnTo>
                  <a:lnTo>
                    <a:pt x="74" y="87"/>
                  </a:lnTo>
                  <a:lnTo>
                    <a:pt x="68" y="93"/>
                  </a:lnTo>
                  <a:lnTo>
                    <a:pt x="58" y="97"/>
                  </a:lnTo>
                  <a:lnTo>
                    <a:pt x="50" y="101"/>
                  </a:lnTo>
                  <a:lnTo>
                    <a:pt x="50" y="101"/>
                  </a:lnTo>
                  <a:lnTo>
                    <a:pt x="43" y="101"/>
                  </a:lnTo>
                  <a:lnTo>
                    <a:pt x="37" y="101"/>
                  </a:lnTo>
                  <a:lnTo>
                    <a:pt x="37" y="101"/>
                  </a:lnTo>
                  <a:lnTo>
                    <a:pt x="27" y="97"/>
                  </a:lnTo>
                  <a:lnTo>
                    <a:pt x="19" y="93"/>
                  </a:lnTo>
                  <a:lnTo>
                    <a:pt x="11" y="87"/>
                  </a:lnTo>
                  <a:lnTo>
                    <a:pt x="7" y="80"/>
                  </a:lnTo>
                  <a:lnTo>
                    <a:pt x="7" y="80"/>
                  </a:lnTo>
                  <a:lnTo>
                    <a:pt x="4" y="70"/>
                  </a:lnTo>
                  <a:lnTo>
                    <a:pt x="2" y="56"/>
                  </a:lnTo>
                  <a:lnTo>
                    <a:pt x="0" y="43"/>
                  </a:lnTo>
                  <a:lnTo>
                    <a:pt x="0" y="33"/>
                  </a:lnTo>
                  <a:lnTo>
                    <a:pt x="0" y="33"/>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2"/>
            <p:cNvSpPr>
              <a:spLocks/>
            </p:cNvSpPr>
            <p:nvPr/>
          </p:nvSpPr>
          <p:spPr bwMode="auto">
            <a:xfrm>
              <a:off x="1817" y="3649"/>
              <a:ext cx="64" cy="154"/>
            </a:xfrm>
            <a:custGeom>
              <a:avLst/>
              <a:gdLst/>
              <a:ahLst/>
              <a:cxnLst>
                <a:cxn ang="0">
                  <a:pos x="33" y="219"/>
                </a:cxn>
                <a:cxn ang="0">
                  <a:pos x="29" y="176"/>
                </a:cxn>
                <a:cxn ang="0">
                  <a:pos x="22" y="172"/>
                </a:cxn>
                <a:cxn ang="0">
                  <a:pos x="22" y="172"/>
                </a:cxn>
                <a:cxn ang="0">
                  <a:pos x="14" y="170"/>
                </a:cxn>
                <a:cxn ang="0">
                  <a:pos x="10" y="164"/>
                </a:cxn>
                <a:cxn ang="0">
                  <a:pos x="8" y="158"/>
                </a:cxn>
                <a:cxn ang="0">
                  <a:pos x="6" y="150"/>
                </a:cxn>
                <a:cxn ang="0">
                  <a:pos x="0" y="45"/>
                </a:cxn>
                <a:cxn ang="0">
                  <a:pos x="0" y="45"/>
                </a:cxn>
                <a:cxn ang="0">
                  <a:pos x="0" y="37"/>
                </a:cxn>
                <a:cxn ang="0">
                  <a:pos x="2" y="31"/>
                </a:cxn>
                <a:cxn ang="0">
                  <a:pos x="6" y="25"/>
                </a:cxn>
                <a:cxn ang="0">
                  <a:pos x="10" y="21"/>
                </a:cxn>
                <a:cxn ang="0">
                  <a:pos x="22" y="12"/>
                </a:cxn>
                <a:cxn ang="0">
                  <a:pos x="35" y="6"/>
                </a:cxn>
                <a:cxn ang="0">
                  <a:pos x="53" y="2"/>
                </a:cxn>
                <a:cxn ang="0">
                  <a:pos x="70" y="0"/>
                </a:cxn>
                <a:cxn ang="0">
                  <a:pos x="90" y="0"/>
                </a:cxn>
                <a:cxn ang="0">
                  <a:pos x="110" y="2"/>
                </a:cxn>
                <a:cxn ang="0">
                  <a:pos x="110" y="2"/>
                </a:cxn>
                <a:cxn ang="0">
                  <a:pos x="104" y="16"/>
                </a:cxn>
                <a:cxn ang="0">
                  <a:pos x="104" y="31"/>
                </a:cxn>
                <a:cxn ang="0">
                  <a:pos x="111" y="166"/>
                </a:cxn>
                <a:cxn ang="0">
                  <a:pos x="111" y="166"/>
                </a:cxn>
                <a:cxn ang="0">
                  <a:pos x="113" y="180"/>
                </a:cxn>
                <a:cxn ang="0">
                  <a:pos x="115" y="191"/>
                </a:cxn>
                <a:cxn ang="0">
                  <a:pos x="121" y="201"/>
                </a:cxn>
                <a:cxn ang="0">
                  <a:pos x="129" y="209"/>
                </a:cxn>
                <a:cxn ang="0">
                  <a:pos x="123" y="301"/>
                </a:cxn>
                <a:cxn ang="0">
                  <a:pos x="123" y="301"/>
                </a:cxn>
                <a:cxn ang="0">
                  <a:pos x="119" y="307"/>
                </a:cxn>
                <a:cxn ang="0">
                  <a:pos x="117" y="309"/>
                </a:cxn>
                <a:cxn ang="0">
                  <a:pos x="113" y="309"/>
                </a:cxn>
                <a:cxn ang="0">
                  <a:pos x="47" y="309"/>
                </a:cxn>
                <a:cxn ang="0">
                  <a:pos x="47" y="309"/>
                </a:cxn>
                <a:cxn ang="0">
                  <a:pos x="47" y="309"/>
                </a:cxn>
                <a:cxn ang="0">
                  <a:pos x="43" y="309"/>
                </a:cxn>
                <a:cxn ang="0">
                  <a:pos x="41" y="307"/>
                </a:cxn>
                <a:cxn ang="0">
                  <a:pos x="39" y="303"/>
                </a:cxn>
                <a:cxn ang="0">
                  <a:pos x="37" y="301"/>
                </a:cxn>
                <a:cxn ang="0">
                  <a:pos x="35" y="267"/>
                </a:cxn>
              </a:cxnLst>
              <a:rect l="0" t="0" r="r" b="b"/>
              <a:pathLst>
                <a:path w="129" h="309">
                  <a:moveTo>
                    <a:pt x="33" y="219"/>
                  </a:moveTo>
                  <a:lnTo>
                    <a:pt x="29" y="176"/>
                  </a:lnTo>
                  <a:lnTo>
                    <a:pt x="22" y="172"/>
                  </a:lnTo>
                  <a:lnTo>
                    <a:pt x="22" y="172"/>
                  </a:lnTo>
                  <a:lnTo>
                    <a:pt x="14" y="170"/>
                  </a:lnTo>
                  <a:lnTo>
                    <a:pt x="10" y="164"/>
                  </a:lnTo>
                  <a:lnTo>
                    <a:pt x="8" y="158"/>
                  </a:lnTo>
                  <a:lnTo>
                    <a:pt x="6" y="150"/>
                  </a:lnTo>
                  <a:lnTo>
                    <a:pt x="0" y="45"/>
                  </a:lnTo>
                  <a:lnTo>
                    <a:pt x="0" y="45"/>
                  </a:lnTo>
                  <a:lnTo>
                    <a:pt x="0" y="37"/>
                  </a:lnTo>
                  <a:lnTo>
                    <a:pt x="2" y="31"/>
                  </a:lnTo>
                  <a:lnTo>
                    <a:pt x="6" y="25"/>
                  </a:lnTo>
                  <a:lnTo>
                    <a:pt x="10" y="21"/>
                  </a:lnTo>
                  <a:lnTo>
                    <a:pt x="22" y="12"/>
                  </a:lnTo>
                  <a:lnTo>
                    <a:pt x="35" y="6"/>
                  </a:lnTo>
                  <a:lnTo>
                    <a:pt x="53" y="2"/>
                  </a:lnTo>
                  <a:lnTo>
                    <a:pt x="70" y="0"/>
                  </a:lnTo>
                  <a:lnTo>
                    <a:pt x="90" y="0"/>
                  </a:lnTo>
                  <a:lnTo>
                    <a:pt x="110" y="2"/>
                  </a:lnTo>
                  <a:lnTo>
                    <a:pt x="110" y="2"/>
                  </a:lnTo>
                  <a:lnTo>
                    <a:pt x="104" y="16"/>
                  </a:lnTo>
                  <a:lnTo>
                    <a:pt x="104" y="31"/>
                  </a:lnTo>
                  <a:lnTo>
                    <a:pt x="111" y="166"/>
                  </a:lnTo>
                  <a:lnTo>
                    <a:pt x="111" y="166"/>
                  </a:lnTo>
                  <a:lnTo>
                    <a:pt x="113" y="180"/>
                  </a:lnTo>
                  <a:lnTo>
                    <a:pt x="115" y="191"/>
                  </a:lnTo>
                  <a:lnTo>
                    <a:pt x="121" y="201"/>
                  </a:lnTo>
                  <a:lnTo>
                    <a:pt x="129" y="209"/>
                  </a:lnTo>
                  <a:lnTo>
                    <a:pt x="123" y="301"/>
                  </a:lnTo>
                  <a:lnTo>
                    <a:pt x="123" y="301"/>
                  </a:lnTo>
                  <a:lnTo>
                    <a:pt x="119" y="307"/>
                  </a:lnTo>
                  <a:lnTo>
                    <a:pt x="117" y="309"/>
                  </a:lnTo>
                  <a:lnTo>
                    <a:pt x="113" y="309"/>
                  </a:lnTo>
                  <a:lnTo>
                    <a:pt x="47" y="309"/>
                  </a:lnTo>
                  <a:lnTo>
                    <a:pt x="47" y="309"/>
                  </a:lnTo>
                  <a:lnTo>
                    <a:pt x="47" y="309"/>
                  </a:lnTo>
                  <a:lnTo>
                    <a:pt x="43" y="309"/>
                  </a:lnTo>
                  <a:lnTo>
                    <a:pt x="41" y="307"/>
                  </a:lnTo>
                  <a:lnTo>
                    <a:pt x="39" y="303"/>
                  </a:lnTo>
                  <a:lnTo>
                    <a:pt x="37" y="301"/>
                  </a:lnTo>
                  <a:lnTo>
                    <a:pt x="35" y="26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3"/>
            <p:cNvSpPr>
              <a:spLocks/>
            </p:cNvSpPr>
            <p:nvPr/>
          </p:nvSpPr>
          <p:spPr bwMode="auto">
            <a:xfrm>
              <a:off x="1835" y="3592"/>
              <a:ext cx="43" cy="51"/>
            </a:xfrm>
            <a:custGeom>
              <a:avLst/>
              <a:gdLst/>
              <a:ahLst/>
              <a:cxnLst>
                <a:cxn ang="0">
                  <a:pos x="86" y="33"/>
                </a:cxn>
                <a:cxn ang="0">
                  <a:pos x="86" y="33"/>
                </a:cxn>
                <a:cxn ang="0">
                  <a:pos x="84" y="25"/>
                </a:cxn>
                <a:cxn ang="0">
                  <a:pos x="82" y="19"/>
                </a:cxn>
                <a:cxn ang="0">
                  <a:pos x="78" y="13"/>
                </a:cxn>
                <a:cxn ang="0">
                  <a:pos x="73" y="7"/>
                </a:cxn>
                <a:cxn ang="0">
                  <a:pos x="67" y="5"/>
                </a:cxn>
                <a:cxn ang="0">
                  <a:pos x="59" y="2"/>
                </a:cxn>
                <a:cxn ang="0">
                  <a:pos x="43" y="0"/>
                </a:cxn>
                <a:cxn ang="0">
                  <a:pos x="43" y="0"/>
                </a:cxn>
                <a:cxn ang="0">
                  <a:pos x="28" y="2"/>
                </a:cxn>
                <a:cxn ang="0">
                  <a:pos x="22" y="5"/>
                </a:cxn>
                <a:cxn ang="0">
                  <a:pos x="14" y="7"/>
                </a:cxn>
                <a:cxn ang="0">
                  <a:pos x="10" y="13"/>
                </a:cxn>
                <a:cxn ang="0">
                  <a:pos x="4" y="19"/>
                </a:cxn>
                <a:cxn ang="0">
                  <a:pos x="2" y="25"/>
                </a:cxn>
                <a:cxn ang="0">
                  <a:pos x="0" y="33"/>
                </a:cxn>
                <a:cxn ang="0">
                  <a:pos x="0" y="33"/>
                </a:cxn>
                <a:cxn ang="0">
                  <a:pos x="0" y="43"/>
                </a:cxn>
                <a:cxn ang="0">
                  <a:pos x="2" y="56"/>
                </a:cxn>
                <a:cxn ang="0">
                  <a:pos x="4" y="70"/>
                </a:cxn>
                <a:cxn ang="0">
                  <a:pos x="8" y="80"/>
                </a:cxn>
                <a:cxn ang="0">
                  <a:pos x="8" y="80"/>
                </a:cxn>
                <a:cxn ang="0">
                  <a:pos x="12" y="87"/>
                </a:cxn>
                <a:cxn ang="0">
                  <a:pos x="20" y="93"/>
                </a:cxn>
                <a:cxn ang="0">
                  <a:pos x="28" y="97"/>
                </a:cxn>
                <a:cxn ang="0">
                  <a:pos x="37" y="101"/>
                </a:cxn>
                <a:cxn ang="0">
                  <a:pos x="37" y="101"/>
                </a:cxn>
                <a:cxn ang="0">
                  <a:pos x="43" y="101"/>
                </a:cxn>
                <a:cxn ang="0">
                  <a:pos x="51" y="101"/>
                </a:cxn>
                <a:cxn ang="0">
                  <a:pos x="51" y="101"/>
                </a:cxn>
                <a:cxn ang="0">
                  <a:pos x="59" y="97"/>
                </a:cxn>
                <a:cxn ang="0">
                  <a:pos x="69" y="93"/>
                </a:cxn>
                <a:cxn ang="0">
                  <a:pos x="74" y="87"/>
                </a:cxn>
                <a:cxn ang="0">
                  <a:pos x="78" y="80"/>
                </a:cxn>
                <a:cxn ang="0">
                  <a:pos x="78" y="80"/>
                </a:cxn>
                <a:cxn ang="0">
                  <a:pos x="82" y="70"/>
                </a:cxn>
                <a:cxn ang="0">
                  <a:pos x="86" y="56"/>
                </a:cxn>
                <a:cxn ang="0">
                  <a:pos x="86" y="43"/>
                </a:cxn>
                <a:cxn ang="0">
                  <a:pos x="86" y="33"/>
                </a:cxn>
                <a:cxn ang="0">
                  <a:pos x="86" y="33"/>
                </a:cxn>
              </a:cxnLst>
              <a:rect l="0" t="0" r="r" b="b"/>
              <a:pathLst>
                <a:path w="86" h="101">
                  <a:moveTo>
                    <a:pt x="86" y="33"/>
                  </a:moveTo>
                  <a:lnTo>
                    <a:pt x="86" y="33"/>
                  </a:lnTo>
                  <a:lnTo>
                    <a:pt x="84" y="25"/>
                  </a:lnTo>
                  <a:lnTo>
                    <a:pt x="82" y="19"/>
                  </a:lnTo>
                  <a:lnTo>
                    <a:pt x="78" y="13"/>
                  </a:lnTo>
                  <a:lnTo>
                    <a:pt x="73" y="7"/>
                  </a:lnTo>
                  <a:lnTo>
                    <a:pt x="67" y="5"/>
                  </a:lnTo>
                  <a:lnTo>
                    <a:pt x="59" y="2"/>
                  </a:lnTo>
                  <a:lnTo>
                    <a:pt x="43" y="0"/>
                  </a:lnTo>
                  <a:lnTo>
                    <a:pt x="43" y="0"/>
                  </a:lnTo>
                  <a:lnTo>
                    <a:pt x="28" y="2"/>
                  </a:lnTo>
                  <a:lnTo>
                    <a:pt x="22" y="5"/>
                  </a:lnTo>
                  <a:lnTo>
                    <a:pt x="14" y="7"/>
                  </a:lnTo>
                  <a:lnTo>
                    <a:pt x="10" y="13"/>
                  </a:lnTo>
                  <a:lnTo>
                    <a:pt x="4" y="19"/>
                  </a:lnTo>
                  <a:lnTo>
                    <a:pt x="2" y="25"/>
                  </a:lnTo>
                  <a:lnTo>
                    <a:pt x="0" y="33"/>
                  </a:lnTo>
                  <a:lnTo>
                    <a:pt x="0" y="33"/>
                  </a:lnTo>
                  <a:lnTo>
                    <a:pt x="0" y="43"/>
                  </a:lnTo>
                  <a:lnTo>
                    <a:pt x="2" y="56"/>
                  </a:lnTo>
                  <a:lnTo>
                    <a:pt x="4" y="70"/>
                  </a:lnTo>
                  <a:lnTo>
                    <a:pt x="8" y="80"/>
                  </a:lnTo>
                  <a:lnTo>
                    <a:pt x="8" y="80"/>
                  </a:lnTo>
                  <a:lnTo>
                    <a:pt x="12" y="87"/>
                  </a:lnTo>
                  <a:lnTo>
                    <a:pt x="20" y="93"/>
                  </a:lnTo>
                  <a:lnTo>
                    <a:pt x="28" y="97"/>
                  </a:lnTo>
                  <a:lnTo>
                    <a:pt x="37" y="101"/>
                  </a:lnTo>
                  <a:lnTo>
                    <a:pt x="37" y="101"/>
                  </a:lnTo>
                  <a:lnTo>
                    <a:pt x="43" y="101"/>
                  </a:lnTo>
                  <a:lnTo>
                    <a:pt x="51" y="101"/>
                  </a:lnTo>
                  <a:lnTo>
                    <a:pt x="51" y="101"/>
                  </a:lnTo>
                  <a:lnTo>
                    <a:pt x="59" y="97"/>
                  </a:lnTo>
                  <a:lnTo>
                    <a:pt x="69" y="93"/>
                  </a:lnTo>
                  <a:lnTo>
                    <a:pt x="74" y="87"/>
                  </a:lnTo>
                  <a:lnTo>
                    <a:pt x="78" y="80"/>
                  </a:lnTo>
                  <a:lnTo>
                    <a:pt x="78" y="80"/>
                  </a:lnTo>
                  <a:lnTo>
                    <a:pt x="82" y="70"/>
                  </a:lnTo>
                  <a:lnTo>
                    <a:pt x="86" y="56"/>
                  </a:lnTo>
                  <a:lnTo>
                    <a:pt x="86" y="43"/>
                  </a:lnTo>
                  <a:lnTo>
                    <a:pt x="86" y="33"/>
                  </a:lnTo>
                  <a:lnTo>
                    <a:pt x="86" y="33"/>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4"/>
            <p:cNvSpPr>
              <a:spLocks/>
            </p:cNvSpPr>
            <p:nvPr/>
          </p:nvSpPr>
          <p:spPr bwMode="auto">
            <a:xfrm>
              <a:off x="1881" y="3634"/>
              <a:ext cx="103" cy="200"/>
            </a:xfrm>
            <a:custGeom>
              <a:avLst/>
              <a:gdLst/>
              <a:ahLst/>
              <a:cxnLst>
                <a:cxn ang="0">
                  <a:pos x="47" y="345"/>
                </a:cxn>
                <a:cxn ang="0">
                  <a:pos x="49" y="386"/>
                </a:cxn>
                <a:cxn ang="0">
                  <a:pos x="49" y="386"/>
                </a:cxn>
                <a:cxn ang="0">
                  <a:pos x="51" y="392"/>
                </a:cxn>
                <a:cxn ang="0">
                  <a:pos x="53" y="394"/>
                </a:cxn>
                <a:cxn ang="0">
                  <a:pos x="57" y="396"/>
                </a:cxn>
                <a:cxn ang="0">
                  <a:pos x="61" y="398"/>
                </a:cxn>
                <a:cxn ang="0">
                  <a:pos x="146" y="398"/>
                </a:cxn>
                <a:cxn ang="0">
                  <a:pos x="146" y="398"/>
                </a:cxn>
                <a:cxn ang="0">
                  <a:pos x="146" y="398"/>
                </a:cxn>
                <a:cxn ang="0">
                  <a:pos x="152" y="396"/>
                </a:cxn>
                <a:cxn ang="0">
                  <a:pos x="154" y="394"/>
                </a:cxn>
                <a:cxn ang="0">
                  <a:pos x="156" y="392"/>
                </a:cxn>
                <a:cxn ang="0">
                  <a:pos x="158" y="386"/>
                </a:cxn>
                <a:cxn ang="0">
                  <a:pos x="170" y="226"/>
                </a:cxn>
                <a:cxn ang="0">
                  <a:pos x="182" y="222"/>
                </a:cxn>
                <a:cxn ang="0">
                  <a:pos x="182" y="222"/>
                </a:cxn>
                <a:cxn ang="0">
                  <a:pos x="189" y="218"/>
                </a:cxn>
                <a:cxn ang="0">
                  <a:pos x="195" y="213"/>
                </a:cxn>
                <a:cxn ang="0">
                  <a:pos x="199" y="205"/>
                </a:cxn>
                <a:cxn ang="0">
                  <a:pos x="199" y="195"/>
                </a:cxn>
                <a:cxn ang="0">
                  <a:pos x="207" y="58"/>
                </a:cxn>
                <a:cxn ang="0">
                  <a:pos x="207" y="58"/>
                </a:cxn>
                <a:cxn ang="0">
                  <a:pos x="207" y="50"/>
                </a:cxn>
                <a:cxn ang="0">
                  <a:pos x="205" y="45"/>
                </a:cxn>
                <a:cxn ang="0">
                  <a:pos x="199" y="33"/>
                </a:cxn>
                <a:cxn ang="0">
                  <a:pos x="189" y="23"/>
                </a:cxn>
                <a:cxn ang="0">
                  <a:pos x="176" y="13"/>
                </a:cxn>
                <a:cxn ang="0">
                  <a:pos x="160" y="7"/>
                </a:cxn>
                <a:cxn ang="0">
                  <a:pos x="143" y="3"/>
                </a:cxn>
                <a:cxn ang="0">
                  <a:pos x="123" y="0"/>
                </a:cxn>
                <a:cxn ang="0">
                  <a:pos x="104" y="0"/>
                </a:cxn>
                <a:cxn ang="0">
                  <a:pos x="84" y="2"/>
                </a:cxn>
                <a:cxn ang="0">
                  <a:pos x="64" y="3"/>
                </a:cxn>
                <a:cxn ang="0">
                  <a:pos x="47" y="7"/>
                </a:cxn>
                <a:cxn ang="0">
                  <a:pos x="31" y="15"/>
                </a:cxn>
                <a:cxn ang="0">
                  <a:pos x="20" y="23"/>
                </a:cxn>
                <a:cxn ang="0">
                  <a:pos x="8" y="33"/>
                </a:cxn>
                <a:cxn ang="0">
                  <a:pos x="2" y="45"/>
                </a:cxn>
                <a:cxn ang="0">
                  <a:pos x="2" y="50"/>
                </a:cxn>
                <a:cxn ang="0">
                  <a:pos x="0" y="58"/>
                </a:cxn>
                <a:cxn ang="0">
                  <a:pos x="8" y="195"/>
                </a:cxn>
                <a:cxn ang="0">
                  <a:pos x="8" y="195"/>
                </a:cxn>
                <a:cxn ang="0">
                  <a:pos x="10" y="205"/>
                </a:cxn>
                <a:cxn ang="0">
                  <a:pos x="14" y="213"/>
                </a:cxn>
                <a:cxn ang="0">
                  <a:pos x="20" y="218"/>
                </a:cxn>
                <a:cxn ang="0">
                  <a:pos x="27" y="222"/>
                </a:cxn>
                <a:cxn ang="0">
                  <a:pos x="39" y="226"/>
                </a:cxn>
                <a:cxn ang="0">
                  <a:pos x="43" y="281"/>
                </a:cxn>
              </a:cxnLst>
              <a:rect l="0" t="0" r="r" b="b"/>
              <a:pathLst>
                <a:path w="207" h="398">
                  <a:moveTo>
                    <a:pt x="47" y="345"/>
                  </a:moveTo>
                  <a:lnTo>
                    <a:pt x="49" y="386"/>
                  </a:lnTo>
                  <a:lnTo>
                    <a:pt x="49" y="386"/>
                  </a:lnTo>
                  <a:lnTo>
                    <a:pt x="51" y="392"/>
                  </a:lnTo>
                  <a:lnTo>
                    <a:pt x="53" y="394"/>
                  </a:lnTo>
                  <a:lnTo>
                    <a:pt x="57" y="396"/>
                  </a:lnTo>
                  <a:lnTo>
                    <a:pt x="61" y="398"/>
                  </a:lnTo>
                  <a:lnTo>
                    <a:pt x="146" y="398"/>
                  </a:lnTo>
                  <a:lnTo>
                    <a:pt x="146" y="398"/>
                  </a:lnTo>
                  <a:lnTo>
                    <a:pt x="146" y="398"/>
                  </a:lnTo>
                  <a:lnTo>
                    <a:pt x="152" y="396"/>
                  </a:lnTo>
                  <a:lnTo>
                    <a:pt x="154" y="394"/>
                  </a:lnTo>
                  <a:lnTo>
                    <a:pt x="156" y="392"/>
                  </a:lnTo>
                  <a:lnTo>
                    <a:pt x="158" y="386"/>
                  </a:lnTo>
                  <a:lnTo>
                    <a:pt x="170" y="226"/>
                  </a:lnTo>
                  <a:lnTo>
                    <a:pt x="182" y="222"/>
                  </a:lnTo>
                  <a:lnTo>
                    <a:pt x="182" y="222"/>
                  </a:lnTo>
                  <a:lnTo>
                    <a:pt x="189" y="218"/>
                  </a:lnTo>
                  <a:lnTo>
                    <a:pt x="195" y="213"/>
                  </a:lnTo>
                  <a:lnTo>
                    <a:pt x="199" y="205"/>
                  </a:lnTo>
                  <a:lnTo>
                    <a:pt x="199" y="195"/>
                  </a:lnTo>
                  <a:lnTo>
                    <a:pt x="207" y="58"/>
                  </a:lnTo>
                  <a:lnTo>
                    <a:pt x="207" y="58"/>
                  </a:lnTo>
                  <a:lnTo>
                    <a:pt x="207" y="50"/>
                  </a:lnTo>
                  <a:lnTo>
                    <a:pt x="205" y="45"/>
                  </a:lnTo>
                  <a:lnTo>
                    <a:pt x="199" y="33"/>
                  </a:lnTo>
                  <a:lnTo>
                    <a:pt x="189" y="23"/>
                  </a:lnTo>
                  <a:lnTo>
                    <a:pt x="176" y="13"/>
                  </a:lnTo>
                  <a:lnTo>
                    <a:pt x="160" y="7"/>
                  </a:lnTo>
                  <a:lnTo>
                    <a:pt x="143" y="3"/>
                  </a:lnTo>
                  <a:lnTo>
                    <a:pt x="123" y="0"/>
                  </a:lnTo>
                  <a:lnTo>
                    <a:pt x="104" y="0"/>
                  </a:lnTo>
                  <a:lnTo>
                    <a:pt x="84" y="2"/>
                  </a:lnTo>
                  <a:lnTo>
                    <a:pt x="64" y="3"/>
                  </a:lnTo>
                  <a:lnTo>
                    <a:pt x="47" y="7"/>
                  </a:lnTo>
                  <a:lnTo>
                    <a:pt x="31" y="15"/>
                  </a:lnTo>
                  <a:lnTo>
                    <a:pt x="20" y="23"/>
                  </a:lnTo>
                  <a:lnTo>
                    <a:pt x="8" y="33"/>
                  </a:lnTo>
                  <a:lnTo>
                    <a:pt x="2" y="45"/>
                  </a:lnTo>
                  <a:lnTo>
                    <a:pt x="2" y="50"/>
                  </a:lnTo>
                  <a:lnTo>
                    <a:pt x="0" y="58"/>
                  </a:lnTo>
                  <a:lnTo>
                    <a:pt x="8" y="195"/>
                  </a:lnTo>
                  <a:lnTo>
                    <a:pt x="8" y="195"/>
                  </a:lnTo>
                  <a:lnTo>
                    <a:pt x="10" y="205"/>
                  </a:lnTo>
                  <a:lnTo>
                    <a:pt x="14" y="213"/>
                  </a:lnTo>
                  <a:lnTo>
                    <a:pt x="20" y="218"/>
                  </a:lnTo>
                  <a:lnTo>
                    <a:pt x="27" y="222"/>
                  </a:lnTo>
                  <a:lnTo>
                    <a:pt x="39" y="226"/>
                  </a:lnTo>
                  <a:lnTo>
                    <a:pt x="43" y="281"/>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5"/>
            <p:cNvSpPr>
              <a:spLocks/>
            </p:cNvSpPr>
            <p:nvPr/>
          </p:nvSpPr>
          <p:spPr bwMode="auto">
            <a:xfrm>
              <a:off x="1905" y="3562"/>
              <a:ext cx="56" cy="65"/>
            </a:xfrm>
            <a:custGeom>
              <a:avLst/>
              <a:gdLst/>
              <a:ahLst/>
              <a:cxnLst>
                <a:cxn ang="0">
                  <a:pos x="0" y="43"/>
                </a:cxn>
                <a:cxn ang="0">
                  <a:pos x="0" y="43"/>
                </a:cxn>
                <a:cxn ang="0">
                  <a:pos x="2" y="33"/>
                </a:cxn>
                <a:cxn ang="0">
                  <a:pos x="6" y="23"/>
                </a:cxn>
                <a:cxn ang="0">
                  <a:pos x="12" y="18"/>
                </a:cxn>
                <a:cxn ang="0">
                  <a:pos x="17" y="12"/>
                </a:cxn>
                <a:cxn ang="0">
                  <a:pos x="25" y="6"/>
                </a:cxn>
                <a:cxn ang="0">
                  <a:pos x="35" y="4"/>
                </a:cxn>
                <a:cxn ang="0">
                  <a:pos x="45" y="2"/>
                </a:cxn>
                <a:cxn ang="0">
                  <a:pos x="55" y="0"/>
                </a:cxn>
                <a:cxn ang="0">
                  <a:pos x="55" y="0"/>
                </a:cxn>
                <a:cxn ang="0">
                  <a:pos x="64" y="2"/>
                </a:cxn>
                <a:cxn ang="0">
                  <a:pos x="74" y="4"/>
                </a:cxn>
                <a:cxn ang="0">
                  <a:pos x="84" y="6"/>
                </a:cxn>
                <a:cxn ang="0">
                  <a:pos x="92" y="12"/>
                </a:cxn>
                <a:cxn ang="0">
                  <a:pos x="99" y="18"/>
                </a:cxn>
                <a:cxn ang="0">
                  <a:pos x="103" y="23"/>
                </a:cxn>
                <a:cxn ang="0">
                  <a:pos x="107" y="33"/>
                </a:cxn>
                <a:cxn ang="0">
                  <a:pos x="109" y="43"/>
                </a:cxn>
                <a:cxn ang="0">
                  <a:pos x="109" y="43"/>
                </a:cxn>
                <a:cxn ang="0">
                  <a:pos x="111" y="57"/>
                </a:cxn>
                <a:cxn ang="0">
                  <a:pos x="109" y="74"/>
                </a:cxn>
                <a:cxn ang="0">
                  <a:pos x="105" y="92"/>
                </a:cxn>
                <a:cxn ang="0">
                  <a:pos x="101" y="104"/>
                </a:cxn>
                <a:cxn ang="0">
                  <a:pos x="101" y="104"/>
                </a:cxn>
                <a:cxn ang="0">
                  <a:pos x="95" y="113"/>
                </a:cxn>
                <a:cxn ang="0">
                  <a:pos x="86" y="119"/>
                </a:cxn>
                <a:cxn ang="0">
                  <a:pos x="76" y="127"/>
                </a:cxn>
                <a:cxn ang="0">
                  <a:pos x="64" y="131"/>
                </a:cxn>
                <a:cxn ang="0">
                  <a:pos x="64" y="131"/>
                </a:cxn>
                <a:cxn ang="0">
                  <a:pos x="55" y="131"/>
                </a:cxn>
                <a:cxn ang="0">
                  <a:pos x="47" y="131"/>
                </a:cxn>
                <a:cxn ang="0">
                  <a:pos x="47" y="131"/>
                </a:cxn>
                <a:cxn ang="0">
                  <a:pos x="35" y="127"/>
                </a:cxn>
                <a:cxn ang="0">
                  <a:pos x="23" y="119"/>
                </a:cxn>
                <a:cxn ang="0">
                  <a:pos x="15" y="113"/>
                </a:cxn>
                <a:cxn ang="0">
                  <a:pos x="10" y="104"/>
                </a:cxn>
                <a:cxn ang="0">
                  <a:pos x="10" y="104"/>
                </a:cxn>
                <a:cxn ang="0">
                  <a:pos x="4" y="92"/>
                </a:cxn>
                <a:cxn ang="0">
                  <a:pos x="2" y="74"/>
                </a:cxn>
                <a:cxn ang="0">
                  <a:pos x="0" y="57"/>
                </a:cxn>
                <a:cxn ang="0">
                  <a:pos x="0" y="43"/>
                </a:cxn>
                <a:cxn ang="0">
                  <a:pos x="0" y="43"/>
                </a:cxn>
              </a:cxnLst>
              <a:rect l="0" t="0" r="r" b="b"/>
              <a:pathLst>
                <a:path w="111" h="131">
                  <a:moveTo>
                    <a:pt x="0" y="43"/>
                  </a:moveTo>
                  <a:lnTo>
                    <a:pt x="0" y="43"/>
                  </a:lnTo>
                  <a:lnTo>
                    <a:pt x="2" y="33"/>
                  </a:lnTo>
                  <a:lnTo>
                    <a:pt x="6" y="23"/>
                  </a:lnTo>
                  <a:lnTo>
                    <a:pt x="12" y="18"/>
                  </a:lnTo>
                  <a:lnTo>
                    <a:pt x="17" y="12"/>
                  </a:lnTo>
                  <a:lnTo>
                    <a:pt x="25" y="6"/>
                  </a:lnTo>
                  <a:lnTo>
                    <a:pt x="35" y="4"/>
                  </a:lnTo>
                  <a:lnTo>
                    <a:pt x="45" y="2"/>
                  </a:lnTo>
                  <a:lnTo>
                    <a:pt x="55" y="0"/>
                  </a:lnTo>
                  <a:lnTo>
                    <a:pt x="55" y="0"/>
                  </a:lnTo>
                  <a:lnTo>
                    <a:pt x="64" y="2"/>
                  </a:lnTo>
                  <a:lnTo>
                    <a:pt x="74" y="4"/>
                  </a:lnTo>
                  <a:lnTo>
                    <a:pt x="84" y="6"/>
                  </a:lnTo>
                  <a:lnTo>
                    <a:pt x="92" y="12"/>
                  </a:lnTo>
                  <a:lnTo>
                    <a:pt x="99" y="18"/>
                  </a:lnTo>
                  <a:lnTo>
                    <a:pt x="103" y="23"/>
                  </a:lnTo>
                  <a:lnTo>
                    <a:pt x="107" y="33"/>
                  </a:lnTo>
                  <a:lnTo>
                    <a:pt x="109" y="43"/>
                  </a:lnTo>
                  <a:lnTo>
                    <a:pt x="109" y="43"/>
                  </a:lnTo>
                  <a:lnTo>
                    <a:pt x="111" y="57"/>
                  </a:lnTo>
                  <a:lnTo>
                    <a:pt x="109" y="74"/>
                  </a:lnTo>
                  <a:lnTo>
                    <a:pt x="105" y="92"/>
                  </a:lnTo>
                  <a:lnTo>
                    <a:pt x="101" y="104"/>
                  </a:lnTo>
                  <a:lnTo>
                    <a:pt x="101" y="104"/>
                  </a:lnTo>
                  <a:lnTo>
                    <a:pt x="95" y="113"/>
                  </a:lnTo>
                  <a:lnTo>
                    <a:pt x="86" y="119"/>
                  </a:lnTo>
                  <a:lnTo>
                    <a:pt x="76" y="127"/>
                  </a:lnTo>
                  <a:lnTo>
                    <a:pt x="64" y="131"/>
                  </a:lnTo>
                  <a:lnTo>
                    <a:pt x="64" y="131"/>
                  </a:lnTo>
                  <a:lnTo>
                    <a:pt x="55" y="131"/>
                  </a:lnTo>
                  <a:lnTo>
                    <a:pt x="47" y="131"/>
                  </a:lnTo>
                  <a:lnTo>
                    <a:pt x="47" y="131"/>
                  </a:lnTo>
                  <a:lnTo>
                    <a:pt x="35" y="127"/>
                  </a:lnTo>
                  <a:lnTo>
                    <a:pt x="23" y="119"/>
                  </a:lnTo>
                  <a:lnTo>
                    <a:pt x="15" y="113"/>
                  </a:lnTo>
                  <a:lnTo>
                    <a:pt x="10" y="104"/>
                  </a:lnTo>
                  <a:lnTo>
                    <a:pt x="10" y="104"/>
                  </a:lnTo>
                  <a:lnTo>
                    <a:pt x="4" y="92"/>
                  </a:lnTo>
                  <a:lnTo>
                    <a:pt x="2" y="74"/>
                  </a:lnTo>
                  <a:lnTo>
                    <a:pt x="0" y="57"/>
                  </a:lnTo>
                  <a:lnTo>
                    <a:pt x="0" y="43"/>
                  </a:lnTo>
                  <a:lnTo>
                    <a:pt x="0" y="43"/>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16"/>
            <p:cNvSpPr>
              <a:spLocks noChangeShapeType="1"/>
            </p:cNvSpPr>
            <p:nvPr/>
          </p:nvSpPr>
          <p:spPr bwMode="auto">
            <a:xfrm>
              <a:off x="655" y="3830"/>
              <a:ext cx="1" cy="1"/>
            </a:xfrm>
            <a:prstGeom prst="line">
              <a:avLst/>
            </a:prstGeom>
            <a:noFill/>
            <a:ln w="6350">
              <a:solidFill>
                <a:srgbClr val="AAAAA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17"/>
            <p:cNvSpPr>
              <a:spLocks noChangeShapeType="1"/>
            </p:cNvSpPr>
            <p:nvPr/>
          </p:nvSpPr>
          <p:spPr bwMode="auto">
            <a:xfrm flipH="1">
              <a:off x="2618" y="3709"/>
              <a:ext cx="50" cy="25"/>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18"/>
            <p:cNvSpPr>
              <a:spLocks noChangeShapeType="1"/>
            </p:cNvSpPr>
            <p:nvPr/>
          </p:nvSpPr>
          <p:spPr bwMode="auto">
            <a:xfrm flipH="1">
              <a:off x="2588" y="3653"/>
              <a:ext cx="39" cy="40"/>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19"/>
            <p:cNvSpPr>
              <a:spLocks noChangeShapeType="1"/>
            </p:cNvSpPr>
            <p:nvPr/>
          </p:nvSpPr>
          <p:spPr bwMode="auto">
            <a:xfrm flipH="1">
              <a:off x="2547" y="3614"/>
              <a:ext cx="22" cy="52"/>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20"/>
            <p:cNvSpPr>
              <a:spLocks noChangeShapeType="1"/>
            </p:cNvSpPr>
            <p:nvPr/>
          </p:nvSpPr>
          <p:spPr bwMode="auto">
            <a:xfrm flipH="1">
              <a:off x="2498" y="3597"/>
              <a:ext cx="4" cy="56"/>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21"/>
            <p:cNvSpPr>
              <a:spLocks noChangeShapeType="1"/>
            </p:cNvSpPr>
            <p:nvPr/>
          </p:nvSpPr>
          <p:spPr bwMode="auto">
            <a:xfrm>
              <a:off x="2432" y="3605"/>
              <a:ext cx="16" cy="54"/>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22"/>
            <p:cNvSpPr>
              <a:spLocks noChangeShapeType="1"/>
            </p:cNvSpPr>
            <p:nvPr/>
          </p:nvSpPr>
          <p:spPr bwMode="auto">
            <a:xfrm>
              <a:off x="2370" y="3635"/>
              <a:ext cx="33" cy="45"/>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23"/>
            <p:cNvSpPr>
              <a:spLocks noChangeShapeType="1"/>
            </p:cNvSpPr>
            <p:nvPr/>
          </p:nvSpPr>
          <p:spPr bwMode="auto">
            <a:xfrm>
              <a:off x="2322" y="3685"/>
              <a:ext cx="46" cy="31"/>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24"/>
            <p:cNvSpPr>
              <a:spLocks noChangeShapeType="1"/>
            </p:cNvSpPr>
            <p:nvPr/>
          </p:nvSpPr>
          <p:spPr bwMode="auto">
            <a:xfrm>
              <a:off x="2294" y="3749"/>
              <a:ext cx="54" cy="13"/>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25"/>
            <p:cNvSpPr>
              <a:spLocks noChangeShapeType="1"/>
            </p:cNvSpPr>
            <p:nvPr/>
          </p:nvSpPr>
          <p:spPr bwMode="auto">
            <a:xfrm flipH="1">
              <a:off x="2632" y="3776"/>
              <a:ext cx="55" cy="6"/>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auto">
            <a:xfrm>
              <a:off x="2468" y="3785"/>
              <a:ext cx="18" cy="19"/>
            </a:xfrm>
            <a:custGeom>
              <a:avLst/>
              <a:gdLst/>
              <a:ahLst/>
              <a:cxnLst>
                <a:cxn ang="0">
                  <a:pos x="37" y="20"/>
                </a:cxn>
                <a:cxn ang="0">
                  <a:pos x="37" y="20"/>
                </a:cxn>
                <a:cxn ang="0">
                  <a:pos x="35" y="28"/>
                </a:cxn>
                <a:cxn ang="0">
                  <a:pos x="31" y="34"/>
                </a:cxn>
                <a:cxn ang="0">
                  <a:pos x="26" y="38"/>
                </a:cxn>
                <a:cxn ang="0">
                  <a:pos x="20" y="39"/>
                </a:cxn>
                <a:cxn ang="0">
                  <a:pos x="20" y="39"/>
                </a:cxn>
                <a:cxn ang="0">
                  <a:pos x="12" y="38"/>
                </a:cxn>
                <a:cxn ang="0">
                  <a:pos x="6" y="34"/>
                </a:cxn>
                <a:cxn ang="0">
                  <a:pos x="2" y="28"/>
                </a:cxn>
                <a:cxn ang="0">
                  <a:pos x="0" y="20"/>
                </a:cxn>
                <a:cxn ang="0">
                  <a:pos x="0" y="20"/>
                </a:cxn>
                <a:cxn ang="0">
                  <a:pos x="0" y="12"/>
                </a:cxn>
                <a:cxn ang="0">
                  <a:pos x="4" y="6"/>
                </a:cxn>
                <a:cxn ang="0">
                  <a:pos x="10" y="2"/>
                </a:cxn>
                <a:cxn ang="0">
                  <a:pos x="18" y="0"/>
                </a:cxn>
                <a:cxn ang="0">
                  <a:pos x="18" y="0"/>
                </a:cxn>
                <a:cxn ang="0">
                  <a:pos x="26" y="2"/>
                </a:cxn>
                <a:cxn ang="0">
                  <a:pos x="31" y="6"/>
                </a:cxn>
                <a:cxn ang="0">
                  <a:pos x="35" y="12"/>
                </a:cxn>
                <a:cxn ang="0">
                  <a:pos x="37" y="20"/>
                </a:cxn>
                <a:cxn ang="0">
                  <a:pos x="37" y="20"/>
                </a:cxn>
              </a:cxnLst>
              <a:rect l="0" t="0" r="r" b="b"/>
              <a:pathLst>
                <a:path w="37" h="39">
                  <a:moveTo>
                    <a:pt x="37" y="20"/>
                  </a:moveTo>
                  <a:lnTo>
                    <a:pt x="37" y="20"/>
                  </a:lnTo>
                  <a:lnTo>
                    <a:pt x="35" y="28"/>
                  </a:lnTo>
                  <a:lnTo>
                    <a:pt x="31" y="34"/>
                  </a:lnTo>
                  <a:lnTo>
                    <a:pt x="26" y="38"/>
                  </a:lnTo>
                  <a:lnTo>
                    <a:pt x="20" y="39"/>
                  </a:lnTo>
                  <a:lnTo>
                    <a:pt x="20" y="39"/>
                  </a:lnTo>
                  <a:lnTo>
                    <a:pt x="12" y="38"/>
                  </a:lnTo>
                  <a:lnTo>
                    <a:pt x="6" y="34"/>
                  </a:lnTo>
                  <a:lnTo>
                    <a:pt x="2" y="28"/>
                  </a:lnTo>
                  <a:lnTo>
                    <a:pt x="0" y="20"/>
                  </a:lnTo>
                  <a:lnTo>
                    <a:pt x="0" y="20"/>
                  </a:lnTo>
                  <a:lnTo>
                    <a:pt x="0" y="12"/>
                  </a:lnTo>
                  <a:lnTo>
                    <a:pt x="4" y="6"/>
                  </a:lnTo>
                  <a:lnTo>
                    <a:pt x="10" y="2"/>
                  </a:lnTo>
                  <a:lnTo>
                    <a:pt x="18" y="0"/>
                  </a:lnTo>
                  <a:lnTo>
                    <a:pt x="18" y="0"/>
                  </a:lnTo>
                  <a:lnTo>
                    <a:pt x="26" y="2"/>
                  </a:lnTo>
                  <a:lnTo>
                    <a:pt x="31" y="6"/>
                  </a:lnTo>
                  <a:lnTo>
                    <a:pt x="35" y="12"/>
                  </a:lnTo>
                  <a:lnTo>
                    <a:pt x="37" y="20"/>
                  </a:lnTo>
                  <a:lnTo>
                    <a:pt x="37" y="20"/>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27"/>
            <p:cNvSpPr>
              <a:spLocks noChangeShapeType="1"/>
            </p:cNvSpPr>
            <p:nvPr/>
          </p:nvSpPr>
          <p:spPr bwMode="auto">
            <a:xfrm flipV="1">
              <a:off x="2437" y="3752"/>
              <a:ext cx="149" cy="58"/>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28"/>
            <p:cNvSpPr>
              <a:spLocks noChangeShapeType="1"/>
            </p:cNvSpPr>
            <p:nvPr/>
          </p:nvSpPr>
          <p:spPr bwMode="auto">
            <a:xfrm>
              <a:off x="3152" y="3835"/>
              <a:ext cx="2993" cy="0"/>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auto">
            <a:xfrm>
              <a:off x="1172" y="3630"/>
              <a:ext cx="370" cy="205"/>
            </a:xfrm>
            <a:custGeom>
              <a:avLst/>
              <a:gdLst/>
              <a:ahLst/>
              <a:cxnLst>
                <a:cxn ang="0">
                  <a:pos x="740" y="258"/>
                </a:cxn>
                <a:cxn ang="0">
                  <a:pos x="740" y="174"/>
                </a:cxn>
                <a:cxn ang="0">
                  <a:pos x="627" y="6"/>
                </a:cxn>
                <a:cxn ang="0">
                  <a:pos x="613" y="158"/>
                </a:cxn>
                <a:cxn ang="0">
                  <a:pos x="459" y="0"/>
                </a:cxn>
                <a:cxn ang="0">
                  <a:pos x="459" y="158"/>
                </a:cxn>
                <a:cxn ang="0">
                  <a:pos x="295" y="0"/>
                </a:cxn>
                <a:cxn ang="0">
                  <a:pos x="295" y="158"/>
                </a:cxn>
                <a:cxn ang="0">
                  <a:pos x="135" y="0"/>
                </a:cxn>
                <a:cxn ang="0">
                  <a:pos x="135" y="347"/>
                </a:cxn>
                <a:cxn ang="0">
                  <a:pos x="470" y="347"/>
                </a:cxn>
                <a:cxn ang="0">
                  <a:pos x="470" y="392"/>
                </a:cxn>
                <a:cxn ang="0">
                  <a:pos x="470" y="408"/>
                </a:cxn>
                <a:cxn ang="0">
                  <a:pos x="0" y="408"/>
                </a:cxn>
              </a:cxnLst>
              <a:rect l="0" t="0" r="r" b="b"/>
              <a:pathLst>
                <a:path w="740" h="408">
                  <a:moveTo>
                    <a:pt x="740" y="258"/>
                  </a:moveTo>
                  <a:lnTo>
                    <a:pt x="740" y="174"/>
                  </a:lnTo>
                  <a:lnTo>
                    <a:pt x="627" y="6"/>
                  </a:lnTo>
                  <a:lnTo>
                    <a:pt x="613" y="158"/>
                  </a:lnTo>
                  <a:lnTo>
                    <a:pt x="459" y="0"/>
                  </a:lnTo>
                  <a:lnTo>
                    <a:pt x="459" y="158"/>
                  </a:lnTo>
                  <a:lnTo>
                    <a:pt x="295" y="0"/>
                  </a:lnTo>
                  <a:lnTo>
                    <a:pt x="295" y="158"/>
                  </a:lnTo>
                  <a:lnTo>
                    <a:pt x="135" y="0"/>
                  </a:lnTo>
                  <a:lnTo>
                    <a:pt x="135" y="347"/>
                  </a:lnTo>
                  <a:lnTo>
                    <a:pt x="470" y="347"/>
                  </a:lnTo>
                  <a:lnTo>
                    <a:pt x="470" y="392"/>
                  </a:lnTo>
                  <a:lnTo>
                    <a:pt x="470" y="408"/>
                  </a:lnTo>
                  <a:lnTo>
                    <a:pt x="0" y="408"/>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p:cNvSpPr>
            <p:nvPr/>
          </p:nvSpPr>
          <p:spPr bwMode="auto">
            <a:xfrm>
              <a:off x="1543" y="3795"/>
              <a:ext cx="271" cy="40"/>
            </a:xfrm>
            <a:custGeom>
              <a:avLst/>
              <a:gdLst/>
              <a:ahLst/>
              <a:cxnLst>
                <a:cxn ang="0">
                  <a:pos x="540" y="78"/>
                </a:cxn>
                <a:cxn ang="0">
                  <a:pos x="476" y="78"/>
                </a:cxn>
                <a:cxn ang="0">
                  <a:pos x="0" y="78"/>
                </a:cxn>
                <a:cxn ang="0">
                  <a:pos x="0" y="0"/>
                </a:cxn>
              </a:cxnLst>
              <a:rect l="0" t="0" r="r" b="b"/>
              <a:pathLst>
                <a:path w="540" h="78">
                  <a:moveTo>
                    <a:pt x="540" y="78"/>
                  </a:moveTo>
                  <a:lnTo>
                    <a:pt x="476" y="78"/>
                  </a:lnTo>
                  <a:lnTo>
                    <a:pt x="0" y="78"/>
                  </a:lnTo>
                  <a:lnTo>
                    <a:pt x="0" y="0"/>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p:cNvSpPr>
            <p:nvPr/>
          </p:nvSpPr>
          <p:spPr bwMode="auto">
            <a:xfrm flipV="1">
              <a:off x="1814" y="3806"/>
              <a:ext cx="1062" cy="29"/>
            </a:xfrm>
            <a:custGeom>
              <a:avLst/>
              <a:gdLst/>
              <a:ahLst/>
              <a:cxnLst>
                <a:cxn ang="0">
                  <a:pos x="2583" y="0"/>
                </a:cxn>
                <a:cxn ang="0">
                  <a:pos x="340" y="0"/>
                </a:cxn>
                <a:cxn ang="0">
                  <a:pos x="0" y="0"/>
                </a:cxn>
              </a:cxnLst>
              <a:rect l="0" t="0" r="r" b="b"/>
              <a:pathLst>
                <a:path w="2583">
                  <a:moveTo>
                    <a:pt x="2583" y="0"/>
                  </a:moveTo>
                  <a:lnTo>
                    <a:pt x="340" y="0"/>
                  </a:lnTo>
                  <a:lnTo>
                    <a:pt x="0" y="0"/>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Line 32"/>
            <p:cNvSpPr>
              <a:spLocks noChangeShapeType="1"/>
            </p:cNvSpPr>
            <p:nvPr/>
          </p:nvSpPr>
          <p:spPr bwMode="auto">
            <a:xfrm>
              <a:off x="661" y="3835"/>
              <a:ext cx="512" cy="1"/>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auto">
            <a:xfrm>
              <a:off x="2865" y="3754"/>
              <a:ext cx="91" cy="91"/>
            </a:xfrm>
            <a:custGeom>
              <a:avLst/>
              <a:gdLst/>
              <a:ahLst/>
              <a:cxnLst>
                <a:cxn ang="0">
                  <a:pos x="0" y="78"/>
                </a:cxn>
                <a:cxn ang="0">
                  <a:pos x="0" y="78"/>
                </a:cxn>
                <a:cxn ang="0">
                  <a:pos x="4" y="62"/>
                </a:cxn>
                <a:cxn ang="0">
                  <a:pos x="9" y="49"/>
                </a:cxn>
                <a:cxn ang="0">
                  <a:pos x="19" y="35"/>
                </a:cxn>
                <a:cxn ang="0">
                  <a:pos x="31" y="23"/>
                </a:cxn>
                <a:cxn ang="0">
                  <a:pos x="43" y="14"/>
                </a:cxn>
                <a:cxn ang="0">
                  <a:pos x="58" y="6"/>
                </a:cxn>
                <a:cxn ang="0">
                  <a:pos x="74" y="2"/>
                </a:cxn>
                <a:cxn ang="0">
                  <a:pos x="89" y="0"/>
                </a:cxn>
                <a:cxn ang="0">
                  <a:pos x="89" y="0"/>
                </a:cxn>
                <a:cxn ang="0">
                  <a:pos x="109" y="2"/>
                </a:cxn>
                <a:cxn ang="0">
                  <a:pos x="125" y="8"/>
                </a:cxn>
                <a:cxn ang="0">
                  <a:pos x="140" y="15"/>
                </a:cxn>
                <a:cxn ang="0">
                  <a:pos x="154" y="27"/>
                </a:cxn>
                <a:cxn ang="0">
                  <a:pos x="166" y="41"/>
                </a:cxn>
                <a:cxn ang="0">
                  <a:pos x="173" y="56"/>
                </a:cxn>
                <a:cxn ang="0">
                  <a:pos x="179" y="74"/>
                </a:cxn>
                <a:cxn ang="0">
                  <a:pos x="181" y="92"/>
                </a:cxn>
                <a:cxn ang="0">
                  <a:pos x="181" y="92"/>
                </a:cxn>
                <a:cxn ang="0">
                  <a:pos x="179" y="109"/>
                </a:cxn>
                <a:cxn ang="0">
                  <a:pos x="173" y="127"/>
                </a:cxn>
                <a:cxn ang="0">
                  <a:pos x="166" y="142"/>
                </a:cxn>
                <a:cxn ang="0">
                  <a:pos x="154" y="156"/>
                </a:cxn>
                <a:cxn ang="0">
                  <a:pos x="140" y="166"/>
                </a:cxn>
                <a:cxn ang="0">
                  <a:pos x="125" y="176"/>
                </a:cxn>
                <a:cxn ang="0">
                  <a:pos x="109" y="180"/>
                </a:cxn>
                <a:cxn ang="0">
                  <a:pos x="89" y="182"/>
                </a:cxn>
                <a:cxn ang="0">
                  <a:pos x="89" y="182"/>
                </a:cxn>
                <a:cxn ang="0">
                  <a:pos x="72" y="182"/>
                </a:cxn>
                <a:cxn ang="0">
                  <a:pos x="56" y="176"/>
                </a:cxn>
                <a:cxn ang="0">
                  <a:pos x="41" y="168"/>
                </a:cxn>
                <a:cxn ang="0">
                  <a:pos x="29" y="158"/>
                </a:cxn>
                <a:cxn ang="0">
                  <a:pos x="17" y="146"/>
                </a:cxn>
                <a:cxn ang="0">
                  <a:pos x="9" y="133"/>
                </a:cxn>
                <a:cxn ang="0">
                  <a:pos x="2" y="117"/>
                </a:cxn>
                <a:cxn ang="0">
                  <a:pos x="0" y="99"/>
                </a:cxn>
              </a:cxnLst>
              <a:rect l="0" t="0" r="r" b="b"/>
              <a:pathLst>
                <a:path w="181" h="182">
                  <a:moveTo>
                    <a:pt x="0" y="78"/>
                  </a:moveTo>
                  <a:lnTo>
                    <a:pt x="0" y="78"/>
                  </a:lnTo>
                  <a:lnTo>
                    <a:pt x="4" y="62"/>
                  </a:lnTo>
                  <a:lnTo>
                    <a:pt x="9" y="49"/>
                  </a:lnTo>
                  <a:lnTo>
                    <a:pt x="19" y="35"/>
                  </a:lnTo>
                  <a:lnTo>
                    <a:pt x="31" y="23"/>
                  </a:lnTo>
                  <a:lnTo>
                    <a:pt x="43" y="14"/>
                  </a:lnTo>
                  <a:lnTo>
                    <a:pt x="58" y="6"/>
                  </a:lnTo>
                  <a:lnTo>
                    <a:pt x="74" y="2"/>
                  </a:lnTo>
                  <a:lnTo>
                    <a:pt x="89" y="0"/>
                  </a:lnTo>
                  <a:lnTo>
                    <a:pt x="89" y="0"/>
                  </a:lnTo>
                  <a:lnTo>
                    <a:pt x="109" y="2"/>
                  </a:lnTo>
                  <a:lnTo>
                    <a:pt x="125" y="8"/>
                  </a:lnTo>
                  <a:lnTo>
                    <a:pt x="140" y="15"/>
                  </a:lnTo>
                  <a:lnTo>
                    <a:pt x="154" y="27"/>
                  </a:lnTo>
                  <a:lnTo>
                    <a:pt x="166" y="41"/>
                  </a:lnTo>
                  <a:lnTo>
                    <a:pt x="173" y="56"/>
                  </a:lnTo>
                  <a:lnTo>
                    <a:pt x="179" y="74"/>
                  </a:lnTo>
                  <a:lnTo>
                    <a:pt x="181" y="92"/>
                  </a:lnTo>
                  <a:lnTo>
                    <a:pt x="181" y="92"/>
                  </a:lnTo>
                  <a:lnTo>
                    <a:pt x="179" y="109"/>
                  </a:lnTo>
                  <a:lnTo>
                    <a:pt x="173" y="127"/>
                  </a:lnTo>
                  <a:lnTo>
                    <a:pt x="166" y="142"/>
                  </a:lnTo>
                  <a:lnTo>
                    <a:pt x="154" y="156"/>
                  </a:lnTo>
                  <a:lnTo>
                    <a:pt x="140" y="166"/>
                  </a:lnTo>
                  <a:lnTo>
                    <a:pt x="125" y="176"/>
                  </a:lnTo>
                  <a:lnTo>
                    <a:pt x="109" y="180"/>
                  </a:lnTo>
                  <a:lnTo>
                    <a:pt x="89" y="182"/>
                  </a:lnTo>
                  <a:lnTo>
                    <a:pt x="89" y="182"/>
                  </a:lnTo>
                  <a:lnTo>
                    <a:pt x="72" y="182"/>
                  </a:lnTo>
                  <a:lnTo>
                    <a:pt x="56" y="176"/>
                  </a:lnTo>
                  <a:lnTo>
                    <a:pt x="41" y="168"/>
                  </a:lnTo>
                  <a:lnTo>
                    <a:pt x="29" y="158"/>
                  </a:lnTo>
                  <a:lnTo>
                    <a:pt x="17" y="146"/>
                  </a:lnTo>
                  <a:lnTo>
                    <a:pt x="9" y="133"/>
                  </a:lnTo>
                  <a:lnTo>
                    <a:pt x="2" y="117"/>
                  </a:lnTo>
                  <a:lnTo>
                    <a:pt x="0" y="99"/>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4"/>
            <p:cNvSpPr>
              <a:spLocks/>
            </p:cNvSpPr>
            <p:nvPr/>
          </p:nvSpPr>
          <p:spPr bwMode="auto">
            <a:xfrm>
              <a:off x="2937" y="3727"/>
              <a:ext cx="118" cy="118"/>
            </a:xfrm>
            <a:custGeom>
              <a:avLst/>
              <a:gdLst/>
              <a:ahLst/>
              <a:cxnLst>
                <a:cxn ang="0">
                  <a:pos x="236" y="119"/>
                </a:cxn>
                <a:cxn ang="0">
                  <a:pos x="236" y="119"/>
                </a:cxn>
                <a:cxn ang="0">
                  <a:pos x="236" y="131"/>
                </a:cxn>
                <a:cxn ang="0">
                  <a:pos x="234" y="143"/>
                </a:cxn>
                <a:cxn ang="0">
                  <a:pos x="227" y="164"/>
                </a:cxn>
                <a:cxn ang="0">
                  <a:pos x="217" y="186"/>
                </a:cxn>
                <a:cxn ang="0">
                  <a:pos x="201" y="203"/>
                </a:cxn>
                <a:cxn ang="0">
                  <a:pos x="184" y="217"/>
                </a:cxn>
                <a:cxn ang="0">
                  <a:pos x="164" y="229"/>
                </a:cxn>
                <a:cxn ang="0">
                  <a:pos x="143" y="235"/>
                </a:cxn>
                <a:cxn ang="0">
                  <a:pos x="131" y="237"/>
                </a:cxn>
                <a:cxn ang="0">
                  <a:pos x="117" y="237"/>
                </a:cxn>
                <a:cxn ang="0">
                  <a:pos x="117" y="237"/>
                </a:cxn>
                <a:cxn ang="0">
                  <a:pos x="105" y="237"/>
                </a:cxn>
                <a:cxn ang="0">
                  <a:pos x="94" y="235"/>
                </a:cxn>
                <a:cxn ang="0">
                  <a:pos x="72" y="229"/>
                </a:cxn>
                <a:cxn ang="0">
                  <a:pos x="53" y="217"/>
                </a:cxn>
                <a:cxn ang="0">
                  <a:pos x="35" y="203"/>
                </a:cxn>
                <a:cxn ang="0">
                  <a:pos x="20" y="186"/>
                </a:cxn>
                <a:cxn ang="0">
                  <a:pos x="10" y="164"/>
                </a:cxn>
                <a:cxn ang="0">
                  <a:pos x="2" y="143"/>
                </a:cxn>
                <a:cxn ang="0">
                  <a:pos x="0" y="131"/>
                </a:cxn>
                <a:cxn ang="0">
                  <a:pos x="0" y="119"/>
                </a:cxn>
                <a:cxn ang="0">
                  <a:pos x="0" y="119"/>
                </a:cxn>
                <a:cxn ang="0">
                  <a:pos x="0" y="108"/>
                </a:cxn>
                <a:cxn ang="0">
                  <a:pos x="2" y="96"/>
                </a:cxn>
                <a:cxn ang="0">
                  <a:pos x="10" y="72"/>
                </a:cxn>
                <a:cxn ang="0">
                  <a:pos x="20" y="53"/>
                </a:cxn>
                <a:cxn ang="0">
                  <a:pos x="35" y="35"/>
                </a:cxn>
                <a:cxn ang="0">
                  <a:pos x="53" y="22"/>
                </a:cxn>
                <a:cxn ang="0">
                  <a:pos x="72" y="10"/>
                </a:cxn>
                <a:cxn ang="0">
                  <a:pos x="94" y="2"/>
                </a:cxn>
                <a:cxn ang="0">
                  <a:pos x="105" y="2"/>
                </a:cxn>
                <a:cxn ang="0">
                  <a:pos x="117" y="0"/>
                </a:cxn>
                <a:cxn ang="0">
                  <a:pos x="117" y="0"/>
                </a:cxn>
                <a:cxn ang="0">
                  <a:pos x="131" y="2"/>
                </a:cxn>
                <a:cxn ang="0">
                  <a:pos x="143" y="2"/>
                </a:cxn>
                <a:cxn ang="0">
                  <a:pos x="164" y="10"/>
                </a:cxn>
                <a:cxn ang="0">
                  <a:pos x="184" y="22"/>
                </a:cxn>
                <a:cxn ang="0">
                  <a:pos x="201" y="35"/>
                </a:cxn>
                <a:cxn ang="0">
                  <a:pos x="217" y="53"/>
                </a:cxn>
                <a:cxn ang="0">
                  <a:pos x="227" y="72"/>
                </a:cxn>
                <a:cxn ang="0">
                  <a:pos x="234" y="96"/>
                </a:cxn>
                <a:cxn ang="0">
                  <a:pos x="236" y="108"/>
                </a:cxn>
                <a:cxn ang="0">
                  <a:pos x="236" y="119"/>
                </a:cxn>
                <a:cxn ang="0">
                  <a:pos x="236" y="119"/>
                </a:cxn>
              </a:cxnLst>
              <a:rect l="0" t="0" r="r" b="b"/>
              <a:pathLst>
                <a:path w="236" h="237">
                  <a:moveTo>
                    <a:pt x="236" y="119"/>
                  </a:moveTo>
                  <a:lnTo>
                    <a:pt x="236" y="119"/>
                  </a:lnTo>
                  <a:lnTo>
                    <a:pt x="236" y="131"/>
                  </a:lnTo>
                  <a:lnTo>
                    <a:pt x="234" y="143"/>
                  </a:lnTo>
                  <a:lnTo>
                    <a:pt x="227" y="164"/>
                  </a:lnTo>
                  <a:lnTo>
                    <a:pt x="217" y="186"/>
                  </a:lnTo>
                  <a:lnTo>
                    <a:pt x="201" y="203"/>
                  </a:lnTo>
                  <a:lnTo>
                    <a:pt x="184" y="217"/>
                  </a:lnTo>
                  <a:lnTo>
                    <a:pt x="164" y="229"/>
                  </a:lnTo>
                  <a:lnTo>
                    <a:pt x="143" y="235"/>
                  </a:lnTo>
                  <a:lnTo>
                    <a:pt x="131" y="237"/>
                  </a:lnTo>
                  <a:lnTo>
                    <a:pt x="117" y="237"/>
                  </a:lnTo>
                  <a:lnTo>
                    <a:pt x="117" y="237"/>
                  </a:lnTo>
                  <a:lnTo>
                    <a:pt x="105" y="237"/>
                  </a:lnTo>
                  <a:lnTo>
                    <a:pt x="94" y="235"/>
                  </a:lnTo>
                  <a:lnTo>
                    <a:pt x="72" y="229"/>
                  </a:lnTo>
                  <a:lnTo>
                    <a:pt x="53" y="217"/>
                  </a:lnTo>
                  <a:lnTo>
                    <a:pt x="35" y="203"/>
                  </a:lnTo>
                  <a:lnTo>
                    <a:pt x="20" y="186"/>
                  </a:lnTo>
                  <a:lnTo>
                    <a:pt x="10" y="164"/>
                  </a:lnTo>
                  <a:lnTo>
                    <a:pt x="2" y="143"/>
                  </a:lnTo>
                  <a:lnTo>
                    <a:pt x="0" y="131"/>
                  </a:lnTo>
                  <a:lnTo>
                    <a:pt x="0" y="119"/>
                  </a:lnTo>
                  <a:lnTo>
                    <a:pt x="0" y="119"/>
                  </a:lnTo>
                  <a:lnTo>
                    <a:pt x="0" y="108"/>
                  </a:lnTo>
                  <a:lnTo>
                    <a:pt x="2" y="96"/>
                  </a:lnTo>
                  <a:lnTo>
                    <a:pt x="10" y="72"/>
                  </a:lnTo>
                  <a:lnTo>
                    <a:pt x="20" y="53"/>
                  </a:lnTo>
                  <a:lnTo>
                    <a:pt x="35" y="35"/>
                  </a:lnTo>
                  <a:lnTo>
                    <a:pt x="53" y="22"/>
                  </a:lnTo>
                  <a:lnTo>
                    <a:pt x="72" y="10"/>
                  </a:lnTo>
                  <a:lnTo>
                    <a:pt x="94" y="2"/>
                  </a:lnTo>
                  <a:lnTo>
                    <a:pt x="105" y="2"/>
                  </a:lnTo>
                  <a:lnTo>
                    <a:pt x="117" y="0"/>
                  </a:lnTo>
                  <a:lnTo>
                    <a:pt x="117" y="0"/>
                  </a:lnTo>
                  <a:lnTo>
                    <a:pt x="131" y="2"/>
                  </a:lnTo>
                  <a:lnTo>
                    <a:pt x="143" y="2"/>
                  </a:lnTo>
                  <a:lnTo>
                    <a:pt x="164" y="10"/>
                  </a:lnTo>
                  <a:lnTo>
                    <a:pt x="184" y="22"/>
                  </a:lnTo>
                  <a:lnTo>
                    <a:pt x="201" y="35"/>
                  </a:lnTo>
                  <a:lnTo>
                    <a:pt x="217" y="53"/>
                  </a:lnTo>
                  <a:lnTo>
                    <a:pt x="227" y="72"/>
                  </a:lnTo>
                  <a:lnTo>
                    <a:pt x="234" y="96"/>
                  </a:lnTo>
                  <a:lnTo>
                    <a:pt x="236" y="108"/>
                  </a:lnTo>
                  <a:lnTo>
                    <a:pt x="236" y="119"/>
                  </a:lnTo>
                  <a:lnTo>
                    <a:pt x="236" y="119"/>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5"/>
            <p:cNvSpPr>
              <a:spLocks/>
            </p:cNvSpPr>
            <p:nvPr/>
          </p:nvSpPr>
          <p:spPr bwMode="auto">
            <a:xfrm>
              <a:off x="3029" y="3684"/>
              <a:ext cx="162" cy="162"/>
            </a:xfrm>
            <a:custGeom>
              <a:avLst/>
              <a:gdLst/>
              <a:ahLst/>
              <a:cxnLst>
                <a:cxn ang="0">
                  <a:pos x="253" y="297"/>
                </a:cxn>
                <a:cxn ang="0">
                  <a:pos x="210" y="319"/>
                </a:cxn>
                <a:cxn ang="0">
                  <a:pos x="162" y="324"/>
                </a:cxn>
                <a:cxn ang="0">
                  <a:pos x="144" y="324"/>
                </a:cxn>
                <a:cxn ang="0">
                  <a:pos x="113" y="319"/>
                </a:cxn>
                <a:cxn ang="0">
                  <a:pos x="83" y="305"/>
                </a:cxn>
                <a:cxn ang="0">
                  <a:pos x="58" y="289"/>
                </a:cxn>
                <a:cxn ang="0">
                  <a:pos x="37" y="266"/>
                </a:cxn>
                <a:cxn ang="0">
                  <a:pos x="19" y="240"/>
                </a:cxn>
                <a:cxn ang="0">
                  <a:pos x="5" y="211"/>
                </a:cxn>
                <a:cxn ang="0">
                  <a:pos x="0" y="180"/>
                </a:cxn>
                <a:cxn ang="0">
                  <a:pos x="0" y="162"/>
                </a:cxn>
                <a:cxn ang="0">
                  <a:pos x="2" y="131"/>
                </a:cxn>
                <a:cxn ang="0">
                  <a:pos x="11" y="100"/>
                </a:cxn>
                <a:cxn ang="0">
                  <a:pos x="27" y="72"/>
                </a:cxn>
                <a:cxn ang="0">
                  <a:pos x="46" y="49"/>
                </a:cxn>
                <a:cxn ang="0">
                  <a:pos x="70" y="28"/>
                </a:cxn>
                <a:cxn ang="0">
                  <a:pos x="97" y="14"/>
                </a:cxn>
                <a:cxn ang="0">
                  <a:pos x="128" y="4"/>
                </a:cxn>
                <a:cxn ang="0">
                  <a:pos x="162" y="0"/>
                </a:cxn>
                <a:cxn ang="0">
                  <a:pos x="177" y="2"/>
                </a:cxn>
                <a:cxn ang="0">
                  <a:pos x="208" y="8"/>
                </a:cxn>
                <a:cxn ang="0">
                  <a:pos x="238" y="20"/>
                </a:cxn>
                <a:cxn ang="0">
                  <a:pos x="265" y="37"/>
                </a:cxn>
                <a:cxn ang="0">
                  <a:pos x="286" y="61"/>
                </a:cxn>
                <a:cxn ang="0">
                  <a:pos x="304" y="86"/>
                </a:cxn>
                <a:cxn ang="0">
                  <a:pos x="316" y="115"/>
                </a:cxn>
                <a:cxn ang="0">
                  <a:pos x="322" y="147"/>
                </a:cxn>
                <a:cxn ang="0">
                  <a:pos x="324" y="162"/>
                </a:cxn>
                <a:cxn ang="0">
                  <a:pos x="320" y="199"/>
                </a:cxn>
                <a:cxn ang="0">
                  <a:pos x="308" y="233"/>
                </a:cxn>
                <a:cxn ang="0">
                  <a:pos x="290" y="262"/>
                </a:cxn>
                <a:cxn ang="0">
                  <a:pos x="267" y="285"/>
                </a:cxn>
              </a:cxnLst>
              <a:rect l="0" t="0" r="r" b="b"/>
              <a:pathLst>
                <a:path w="324" h="324">
                  <a:moveTo>
                    <a:pt x="253" y="297"/>
                  </a:moveTo>
                  <a:lnTo>
                    <a:pt x="253" y="297"/>
                  </a:lnTo>
                  <a:lnTo>
                    <a:pt x="232" y="309"/>
                  </a:lnTo>
                  <a:lnTo>
                    <a:pt x="210" y="319"/>
                  </a:lnTo>
                  <a:lnTo>
                    <a:pt x="187" y="323"/>
                  </a:lnTo>
                  <a:lnTo>
                    <a:pt x="162" y="324"/>
                  </a:lnTo>
                  <a:lnTo>
                    <a:pt x="162" y="324"/>
                  </a:lnTo>
                  <a:lnTo>
                    <a:pt x="144" y="324"/>
                  </a:lnTo>
                  <a:lnTo>
                    <a:pt x="128" y="323"/>
                  </a:lnTo>
                  <a:lnTo>
                    <a:pt x="113" y="319"/>
                  </a:lnTo>
                  <a:lnTo>
                    <a:pt x="97" y="313"/>
                  </a:lnTo>
                  <a:lnTo>
                    <a:pt x="83" y="305"/>
                  </a:lnTo>
                  <a:lnTo>
                    <a:pt x="70" y="297"/>
                  </a:lnTo>
                  <a:lnTo>
                    <a:pt x="58" y="289"/>
                  </a:lnTo>
                  <a:lnTo>
                    <a:pt x="46" y="278"/>
                  </a:lnTo>
                  <a:lnTo>
                    <a:pt x="37" y="266"/>
                  </a:lnTo>
                  <a:lnTo>
                    <a:pt x="27" y="254"/>
                  </a:lnTo>
                  <a:lnTo>
                    <a:pt x="19" y="240"/>
                  </a:lnTo>
                  <a:lnTo>
                    <a:pt x="11" y="227"/>
                  </a:lnTo>
                  <a:lnTo>
                    <a:pt x="5" y="211"/>
                  </a:lnTo>
                  <a:lnTo>
                    <a:pt x="2" y="196"/>
                  </a:lnTo>
                  <a:lnTo>
                    <a:pt x="0" y="180"/>
                  </a:lnTo>
                  <a:lnTo>
                    <a:pt x="0" y="162"/>
                  </a:lnTo>
                  <a:lnTo>
                    <a:pt x="0" y="162"/>
                  </a:lnTo>
                  <a:lnTo>
                    <a:pt x="0" y="147"/>
                  </a:lnTo>
                  <a:lnTo>
                    <a:pt x="2" y="131"/>
                  </a:lnTo>
                  <a:lnTo>
                    <a:pt x="5" y="115"/>
                  </a:lnTo>
                  <a:lnTo>
                    <a:pt x="11" y="100"/>
                  </a:lnTo>
                  <a:lnTo>
                    <a:pt x="19" y="86"/>
                  </a:lnTo>
                  <a:lnTo>
                    <a:pt x="27" y="72"/>
                  </a:lnTo>
                  <a:lnTo>
                    <a:pt x="37" y="61"/>
                  </a:lnTo>
                  <a:lnTo>
                    <a:pt x="46" y="49"/>
                  </a:lnTo>
                  <a:lnTo>
                    <a:pt x="58" y="37"/>
                  </a:lnTo>
                  <a:lnTo>
                    <a:pt x="70" y="28"/>
                  </a:lnTo>
                  <a:lnTo>
                    <a:pt x="83" y="20"/>
                  </a:lnTo>
                  <a:lnTo>
                    <a:pt x="97" y="14"/>
                  </a:lnTo>
                  <a:lnTo>
                    <a:pt x="113" y="8"/>
                  </a:lnTo>
                  <a:lnTo>
                    <a:pt x="128" y="4"/>
                  </a:lnTo>
                  <a:lnTo>
                    <a:pt x="144" y="2"/>
                  </a:lnTo>
                  <a:lnTo>
                    <a:pt x="162" y="0"/>
                  </a:lnTo>
                  <a:lnTo>
                    <a:pt x="162" y="0"/>
                  </a:lnTo>
                  <a:lnTo>
                    <a:pt x="177" y="2"/>
                  </a:lnTo>
                  <a:lnTo>
                    <a:pt x="193" y="4"/>
                  </a:lnTo>
                  <a:lnTo>
                    <a:pt x="208" y="8"/>
                  </a:lnTo>
                  <a:lnTo>
                    <a:pt x="224" y="14"/>
                  </a:lnTo>
                  <a:lnTo>
                    <a:pt x="238" y="20"/>
                  </a:lnTo>
                  <a:lnTo>
                    <a:pt x="251" y="28"/>
                  </a:lnTo>
                  <a:lnTo>
                    <a:pt x="265" y="37"/>
                  </a:lnTo>
                  <a:lnTo>
                    <a:pt x="275" y="49"/>
                  </a:lnTo>
                  <a:lnTo>
                    <a:pt x="286" y="61"/>
                  </a:lnTo>
                  <a:lnTo>
                    <a:pt x="296" y="72"/>
                  </a:lnTo>
                  <a:lnTo>
                    <a:pt x="304" y="86"/>
                  </a:lnTo>
                  <a:lnTo>
                    <a:pt x="310" y="100"/>
                  </a:lnTo>
                  <a:lnTo>
                    <a:pt x="316" y="115"/>
                  </a:lnTo>
                  <a:lnTo>
                    <a:pt x="320" y="131"/>
                  </a:lnTo>
                  <a:lnTo>
                    <a:pt x="322" y="147"/>
                  </a:lnTo>
                  <a:lnTo>
                    <a:pt x="324" y="162"/>
                  </a:lnTo>
                  <a:lnTo>
                    <a:pt x="324" y="162"/>
                  </a:lnTo>
                  <a:lnTo>
                    <a:pt x="322" y="182"/>
                  </a:lnTo>
                  <a:lnTo>
                    <a:pt x="320" y="199"/>
                  </a:lnTo>
                  <a:lnTo>
                    <a:pt x="314" y="215"/>
                  </a:lnTo>
                  <a:lnTo>
                    <a:pt x="308" y="233"/>
                  </a:lnTo>
                  <a:lnTo>
                    <a:pt x="300" y="246"/>
                  </a:lnTo>
                  <a:lnTo>
                    <a:pt x="290" y="262"/>
                  </a:lnTo>
                  <a:lnTo>
                    <a:pt x="279" y="274"/>
                  </a:lnTo>
                  <a:lnTo>
                    <a:pt x="267" y="28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6"/>
            <p:cNvSpPr>
              <a:spLocks/>
            </p:cNvSpPr>
            <p:nvPr/>
          </p:nvSpPr>
          <p:spPr bwMode="auto">
            <a:xfrm>
              <a:off x="2896" y="3835"/>
              <a:ext cx="18" cy="21"/>
            </a:xfrm>
            <a:custGeom>
              <a:avLst/>
              <a:gdLst/>
              <a:ahLst/>
              <a:cxnLst>
                <a:cxn ang="0">
                  <a:pos x="35" y="21"/>
                </a:cxn>
                <a:cxn ang="0">
                  <a:pos x="35" y="41"/>
                </a:cxn>
                <a:cxn ang="0">
                  <a:pos x="18" y="29"/>
                </a:cxn>
                <a:cxn ang="0">
                  <a:pos x="0" y="20"/>
                </a:cxn>
                <a:cxn ang="0">
                  <a:pos x="18" y="10"/>
                </a:cxn>
                <a:cxn ang="0">
                  <a:pos x="35" y="0"/>
                </a:cxn>
                <a:cxn ang="0">
                  <a:pos x="35" y="21"/>
                </a:cxn>
              </a:cxnLst>
              <a:rect l="0" t="0" r="r" b="b"/>
              <a:pathLst>
                <a:path w="35" h="41">
                  <a:moveTo>
                    <a:pt x="35" y="21"/>
                  </a:moveTo>
                  <a:lnTo>
                    <a:pt x="35" y="41"/>
                  </a:lnTo>
                  <a:lnTo>
                    <a:pt x="18" y="29"/>
                  </a:lnTo>
                  <a:lnTo>
                    <a:pt x="0" y="20"/>
                  </a:lnTo>
                  <a:lnTo>
                    <a:pt x="18" y="10"/>
                  </a:lnTo>
                  <a:lnTo>
                    <a:pt x="35" y="0"/>
                  </a:lnTo>
                  <a:lnTo>
                    <a:pt x="35"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37"/>
            <p:cNvSpPr>
              <a:spLocks/>
            </p:cNvSpPr>
            <p:nvPr/>
          </p:nvSpPr>
          <p:spPr bwMode="auto">
            <a:xfrm>
              <a:off x="2874" y="3754"/>
              <a:ext cx="21" cy="21"/>
            </a:xfrm>
            <a:custGeom>
              <a:avLst/>
              <a:gdLst/>
              <a:ahLst/>
              <a:cxnLst>
                <a:cxn ang="0">
                  <a:pos x="14" y="23"/>
                </a:cxn>
                <a:cxn ang="0">
                  <a:pos x="0" y="6"/>
                </a:cxn>
                <a:cxn ang="0">
                  <a:pos x="22" y="4"/>
                </a:cxn>
                <a:cxn ang="0">
                  <a:pos x="43" y="0"/>
                </a:cxn>
                <a:cxn ang="0">
                  <a:pos x="35" y="19"/>
                </a:cxn>
                <a:cxn ang="0">
                  <a:pos x="26" y="41"/>
                </a:cxn>
                <a:cxn ang="0">
                  <a:pos x="14" y="23"/>
                </a:cxn>
              </a:cxnLst>
              <a:rect l="0" t="0" r="r" b="b"/>
              <a:pathLst>
                <a:path w="43" h="41">
                  <a:moveTo>
                    <a:pt x="14" y="23"/>
                  </a:moveTo>
                  <a:lnTo>
                    <a:pt x="0" y="6"/>
                  </a:lnTo>
                  <a:lnTo>
                    <a:pt x="22" y="4"/>
                  </a:lnTo>
                  <a:lnTo>
                    <a:pt x="43" y="0"/>
                  </a:lnTo>
                  <a:lnTo>
                    <a:pt x="35" y="19"/>
                  </a:lnTo>
                  <a:lnTo>
                    <a:pt x="26" y="41"/>
                  </a:lnTo>
                  <a:lnTo>
                    <a:pt x="14"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38"/>
            <p:cNvSpPr>
              <a:spLocks/>
            </p:cNvSpPr>
            <p:nvPr/>
          </p:nvSpPr>
          <p:spPr bwMode="auto">
            <a:xfrm>
              <a:off x="2996" y="3835"/>
              <a:ext cx="17" cy="17"/>
            </a:xfrm>
            <a:custGeom>
              <a:avLst/>
              <a:gdLst/>
              <a:ahLst/>
              <a:cxnLst>
                <a:cxn ang="0">
                  <a:pos x="31" y="18"/>
                </a:cxn>
                <a:cxn ang="0">
                  <a:pos x="35" y="35"/>
                </a:cxn>
                <a:cxn ang="0">
                  <a:pos x="18" y="29"/>
                </a:cxn>
                <a:cxn ang="0">
                  <a:pos x="0" y="23"/>
                </a:cxn>
                <a:cxn ang="0">
                  <a:pos x="14" y="12"/>
                </a:cxn>
                <a:cxn ang="0">
                  <a:pos x="28" y="0"/>
                </a:cxn>
                <a:cxn ang="0">
                  <a:pos x="31" y="18"/>
                </a:cxn>
              </a:cxnLst>
              <a:rect l="0" t="0" r="r" b="b"/>
              <a:pathLst>
                <a:path w="35" h="35">
                  <a:moveTo>
                    <a:pt x="31" y="18"/>
                  </a:moveTo>
                  <a:lnTo>
                    <a:pt x="35" y="35"/>
                  </a:lnTo>
                  <a:lnTo>
                    <a:pt x="18" y="29"/>
                  </a:lnTo>
                  <a:lnTo>
                    <a:pt x="0" y="23"/>
                  </a:lnTo>
                  <a:lnTo>
                    <a:pt x="14" y="12"/>
                  </a:lnTo>
                  <a:lnTo>
                    <a:pt x="28" y="0"/>
                  </a:lnTo>
                  <a:lnTo>
                    <a:pt x="31" y="1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9"/>
            <p:cNvSpPr>
              <a:spLocks/>
            </p:cNvSpPr>
            <p:nvPr/>
          </p:nvSpPr>
          <p:spPr bwMode="auto">
            <a:xfrm>
              <a:off x="2996" y="3720"/>
              <a:ext cx="16" cy="19"/>
            </a:xfrm>
            <a:custGeom>
              <a:avLst/>
              <a:gdLst/>
              <a:ahLst/>
              <a:cxnLst>
                <a:cxn ang="0">
                  <a:pos x="16" y="28"/>
                </a:cxn>
                <a:cxn ang="0">
                  <a:pos x="0" y="38"/>
                </a:cxn>
                <a:cxn ang="0">
                  <a:pos x="0" y="18"/>
                </a:cxn>
                <a:cxn ang="0">
                  <a:pos x="0" y="0"/>
                </a:cxn>
                <a:cxn ang="0">
                  <a:pos x="16" y="8"/>
                </a:cxn>
                <a:cxn ang="0">
                  <a:pos x="33" y="18"/>
                </a:cxn>
                <a:cxn ang="0">
                  <a:pos x="16" y="28"/>
                </a:cxn>
              </a:cxnLst>
              <a:rect l="0" t="0" r="r" b="b"/>
              <a:pathLst>
                <a:path w="33" h="38">
                  <a:moveTo>
                    <a:pt x="16" y="28"/>
                  </a:moveTo>
                  <a:lnTo>
                    <a:pt x="0" y="38"/>
                  </a:lnTo>
                  <a:lnTo>
                    <a:pt x="0" y="18"/>
                  </a:lnTo>
                  <a:lnTo>
                    <a:pt x="0" y="0"/>
                  </a:lnTo>
                  <a:lnTo>
                    <a:pt x="16" y="8"/>
                  </a:lnTo>
                  <a:lnTo>
                    <a:pt x="33" y="18"/>
                  </a:lnTo>
                  <a:lnTo>
                    <a:pt x="16" y="2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
            <p:cNvSpPr>
              <a:spLocks/>
            </p:cNvSpPr>
            <p:nvPr/>
          </p:nvSpPr>
          <p:spPr bwMode="auto">
            <a:xfrm>
              <a:off x="3097" y="3675"/>
              <a:ext cx="17" cy="19"/>
            </a:xfrm>
            <a:custGeom>
              <a:avLst/>
              <a:gdLst/>
              <a:ahLst/>
              <a:cxnLst>
                <a:cxn ang="0">
                  <a:pos x="2" y="17"/>
                </a:cxn>
                <a:cxn ang="0">
                  <a:pos x="0" y="0"/>
                </a:cxn>
                <a:cxn ang="0">
                  <a:pos x="18" y="7"/>
                </a:cxn>
                <a:cxn ang="0">
                  <a:pos x="33" y="17"/>
                </a:cxn>
                <a:cxn ang="0">
                  <a:pos x="18" y="27"/>
                </a:cxn>
                <a:cxn ang="0">
                  <a:pos x="2" y="37"/>
                </a:cxn>
                <a:cxn ang="0">
                  <a:pos x="2" y="17"/>
                </a:cxn>
              </a:cxnLst>
              <a:rect l="0" t="0" r="r" b="b"/>
              <a:pathLst>
                <a:path w="33" h="37">
                  <a:moveTo>
                    <a:pt x="2" y="17"/>
                  </a:moveTo>
                  <a:lnTo>
                    <a:pt x="0" y="0"/>
                  </a:lnTo>
                  <a:lnTo>
                    <a:pt x="18" y="7"/>
                  </a:lnTo>
                  <a:lnTo>
                    <a:pt x="33" y="17"/>
                  </a:lnTo>
                  <a:lnTo>
                    <a:pt x="18" y="27"/>
                  </a:lnTo>
                  <a:lnTo>
                    <a:pt x="2" y="37"/>
                  </a:lnTo>
                  <a:lnTo>
                    <a:pt x="2"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41"/>
            <p:cNvSpPr>
              <a:spLocks/>
            </p:cNvSpPr>
            <p:nvPr/>
          </p:nvSpPr>
          <p:spPr bwMode="auto">
            <a:xfrm>
              <a:off x="3137" y="3830"/>
              <a:ext cx="21" cy="18"/>
            </a:xfrm>
            <a:custGeom>
              <a:avLst/>
              <a:gdLst/>
              <a:ahLst/>
              <a:cxnLst>
                <a:cxn ang="0">
                  <a:pos x="14" y="22"/>
                </a:cxn>
                <a:cxn ang="0">
                  <a:pos x="0" y="6"/>
                </a:cxn>
                <a:cxn ang="0">
                  <a:pos x="22" y="4"/>
                </a:cxn>
                <a:cxn ang="0">
                  <a:pos x="41" y="0"/>
                </a:cxn>
                <a:cxn ang="0">
                  <a:pos x="39" y="6"/>
                </a:cxn>
                <a:cxn ang="0">
                  <a:pos x="33" y="20"/>
                </a:cxn>
                <a:cxn ang="0">
                  <a:pos x="28" y="37"/>
                </a:cxn>
                <a:cxn ang="0">
                  <a:pos x="14" y="22"/>
                </a:cxn>
              </a:cxnLst>
              <a:rect l="0" t="0" r="r" b="b"/>
              <a:pathLst>
                <a:path w="41" h="37">
                  <a:moveTo>
                    <a:pt x="14" y="22"/>
                  </a:moveTo>
                  <a:lnTo>
                    <a:pt x="0" y="6"/>
                  </a:lnTo>
                  <a:lnTo>
                    <a:pt x="22" y="4"/>
                  </a:lnTo>
                  <a:lnTo>
                    <a:pt x="41" y="0"/>
                  </a:lnTo>
                  <a:lnTo>
                    <a:pt x="39" y="6"/>
                  </a:lnTo>
                  <a:lnTo>
                    <a:pt x="33" y="20"/>
                  </a:lnTo>
                  <a:lnTo>
                    <a:pt x="28" y="37"/>
                  </a:lnTo>
                  <a:lnTo>
                    <a:pt x="14" y="2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42"/>
            <p:cNvSpPr>
              <a:spLocks/>
            </p:cNvSpPr>
            <p:nvPr/>
          </p:nvSpPr>
          <p:spPr bwMode="auto">
            <a:xfrm>
              <a:off x="2953" y="3523"/>
              <a:ext cx="43" cy="42"/>
            </a:xfrm>
            <a:custGeom>
              <a:avLst/>
              <a:gdLst/>
              <a:ahLst/>
              <a:cxnLst>
                <a:cxn ang="0">
                  <a:pos x="32" y="2"/>
                </a:cxn>
                <a:cxn ang="0">
                  <a:pos x="32" y="2"/>
                </a:cxn>
                <a:cxn ang="0">
                  <a:pos x="39" y="0"/>
                </a:cxn>
                <a:cxn ang="0">
                  <a:pos x="49" y="0"/>
                </a:cxn>
                <a:cxn ang="0">
                  <a:pos x="57" y="2"/>
                </a:cxn>
                <a:cxn ang="0">
                  <a:pos x="65" y="6"/>
                </a:cxn>
                <a:cxn ang="0">
                  <a:pos x="71" y="10"/>
                </a:cxn>
                <a:cxn ang="0">
                  <a:pos x="76" y="16"/>
                </a:cxn>
                <a:cxn ang="0">
                  <a:pos x="80" y="23"/>
                </a:cxn>
                <a:cxn ang="0">
                  <a:pos x="84" y="31"/>
                </a:cxn>
                <a:cxn ang="0">
                  <a:pos x="84" y="31"/>
                </a:cxn>
                <a:cxn ang="0">
                  <a:pos x="86" y="39"/>
                </a:cxn>
                <a:cxn ang="0">
                  <a:pos x="86" y="47"/>
                </a:cxn>
                <a:cxn ang="0">
                  <a:pos x="84" y="55"/>
                </a:cxn>
                <a:cxn ang="0">
                  <a:pos x="80" y="62"/>
                </a:cxn>
                <a:cxn ang="0">
                  <a:pos x="76" y="70"/>
                </a:cxn>
                <a:cxn ang="0">
                  <a:pos x="71" y="76"/>
                </a:cxn>
                <a:cxn ang="0">
                  <a:pos x="63" y="80"/>
                </a:cxn>
                <a:cxn ang="0">
                  <a:pos x="55" y="84"/>
                </a:cxn>
                <a:cxn ang="0">
                  <a:pos x="55" y="84"/>
                </a:cxn>
                <a:cxn ang="0">
                  <a:pos x="45" y="84"/>
                </a:cxn>
                <a:cxn ang="0">
                  <a:pos x="37" y="84"/>
                </a:cxn>
                <a:cxn ang="0">
                  <a:pos x="30" y="82"/>
                </a:cxn>
                <a:cxn ang="0">
                  <a:pos x="22" y="80"/>
                </a:cxn>
                <a:cxn ang="0">
                  <a:pos x="16" y="74"/>
                </a:cxn>
                <a:cxn ang="0">
                  <a:pos x="10" y="68"/>
                </a:cxn>
                <a:cxn ang="0">
                  <a:pos x="6" y="62"/>
                </a:cxn>
                <a:cxn ang="0">
                  <a:pos x="2" y="55"/>
                </a:cxn>
                <a:cxn ang="0">
                  <a:pos x="2" y="55"/>
                </a:cxn>
                <a:cxn ang="0">
                  <a:pos x="0" y="45"/>
                </a:cxn>
                <a:cxn ang="0">
                  <a:pos x="0" y="37"/>
                </a:cxn>
                <a:cxn ang="0">
                  <a:pos x="2" y="29"/>
                </a:cxn>
                <a:cxn ang="0">
                  <a:pos x="6" y="21"/>
                </a:cxn>
                <a:cxn ang="0">
                  <a:pos x="10" y="16"/>
                </a:cxn>
                <a:cxn ang="0">
                  <a:pos x="16" y="10"/>
                </a:cxn>
                <a:cxn ang="0">
                  <a:pos x="24" y="4"/>
                </a:cxn>
                <a:cxn ang="0">
                  <a:pos x="32" y="2"/>
                </a:cxn>
                <a:cxn ang="0">
                  <a:pos x="32" y="2"/>
                </a:cxn>
              </a:cxnLst>
              <a:rect l="0" t="0" r="r" b="b"/>
              <a:pathLst>
                <a:path w="86" h="84">
                  <a:moveTo>
                    <a:pt x="32" y="2"/>
                  </a:moveTo>
                  <a:lnTo>
                    <a:pt x="32" y="2"/>
                  </a:lnTo>
                  <a:lnTo>
                    <a:pt x="39" y="0"/>
                  </a:lnTo>
                  <a:lnTo>
                    <a:pt x="49" y="0"/>
                  </a:lnTo>
                  <a:lnTo>
                    <a:pt x="57" y="2"/>
                  </a:lnTo>
                  <a:lnTo>
                    <a:pt x="65" y="6"/>
                  </a:lnTo>
                  <a:lnTo>
                    <a:pt x="71" y="10"/>
                  </a:lnTo>
                  <a:lnTo>
                    <a:pt x="76" y="16"/>
                  </a:lnTo>
                  <a:lnTo>
                    <a:pt x="80" y="23"/>
                  </a:lnTo>
                  <a:lnTo>
                    <a:pt x="84" y="31"/>
                  </a:lnTo>
                  <a:lnTo>
                    <a:pt x="84" y="31"/>
                  </a:lnTo>
                  <a:lnTo>
                    <a:pt x="86" y="39"/>
                  </a:lnTo>
                  <a:lnTo>
                    <a:pt x="86" y="47"/>
                  </a:lnTo>
                  <a:lnTo>
                    <a:pt x="84" y="55"/>
                  </a:lnTo>
                  <a:lnTo>
                    <a:pt x="80" y="62"/>
                  </a:lnTo>
                  <a:lnTo>
                    <a:pt x="76" y="70"/>
                  </a:lnTo>
                  <a:lnTo>
                    <a:pt x="71" y="76"/>
                  </a:lnTo>
                  <a:lnTo>
                    <a:pt x="63" y="80"/>
                  </a:lnTo>
                  <a:lnTo>
                    <a:pt x="55" y="84"/>
                  </a:lnTo>
                  <a:lnTo>
                    <a:pt x="55" y="84"/>
                  </a:lnTo>
                  <a:lnTo>
                    <a:pt x="45" y="84"/>
                  </a:lnTo>
                  <a:lnTo>
                    <a:pt x="37" y="84"/>
                  </a:lnTo>
                  <a:lnTo>
                    <a:pt x="30" y="82"/>
                  </a:lnTo>
                  <a:lnTo>
                    <a:pt x="22" y="80"/>
                  </a:lnTo>
                  <a:lnTo>
                    <a:pt x="16" y="74"/>
                  </a:lnTo>
                  <a:lnTo>
                    <a:pt x="10" y="68"/>
                  </a:lnTo>
                  <a:lnTo>
                    <a:pt x="6" y="62"/>
                  </a:lnTo>
                  <a:lnTo>
                    <a:pt x="2" y="55"/>
                  </a:lnTo>
                  <a:lnTo>
                    <a:pt x="2" y="55"/>
                  </a:lnTo>
                  <a:lnTo>
                    <a:pt x="0" y="45"/>
                  </a:lnTo>
                  <a:lnTo>
                    <a:pt x="0" y="37"/>
                  </a:lnTo>
                  <a:lnTo>
                    <a:pt x="2" y="29"/>
                  </a:lnTo>
                  <a:lnTo>
                    <a:pt x="6" y="21"/>
                  </a:lnTo>
                  <a:lnTo>
                    <a:pt x="10" y="16"/>
                  </a:lnTo>
                  <a:lnTo>
                    <a:pt x="16" y="10"/>
                  </a:lnTo>
                  <a:lnTo>
                    <a:pt x="24" y="4"/>
                  </a:lnTo>
                  <a:lnTo>
                    <a:pt x="32" y="2"/>
                  </a:lnTo>
                  <a:lnTo>
                    <a:pt x="32" y="2"/>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3"/>
            <p:cNvSpPr>
              <a:spLocks/>
            </p:cNvSpPr>
            <p:nvPr/>
          </p:nvSpPr>
          <p:spPr bwMode="auto">
            <a:xfrm>
              <a:off x="2893" y="3561"/>
              <a:ext cx="44" cy="56"/>
            </a:xfrm>
            <a:custGeom>
              <a:avLst/>
              <a:gdLst/>
              <a:ahLst/>
              <a:cxnLst>
                <a:cxn ang="0">
                  <a:pos x="67" y="65"/>
                </a:cxn>
                <a:cxn ang="0">
                  <a:pos x="35" y="104"/>
                </a:cxn>
                <a:cxn ang="0">
                  <a:pos x="35" y="104"/>
                </a:cxn>
                <a:cxn ang="0">
                  <a:pos x="30" y="108"/>
                </a:cxn>
                <a:cxn ang="0">
                  <a:pos x="22" y="111"/>
                </a:cxn>
                <a:cxn ang="0">
                  <a:pos x="14" y="111"/>
                </a:cxn>
                <a:cxn ang="0">
                  <a:pos x="8" y="108"/>
                </a:cxn>
                <a:cxn ang="0">
                  <a:pos x="8" y="108"/>
                </a:cxn>
                <a:cxn ang="0">
                  <a:pos x="2" y="104"/>
                </a:cxn>
                <a:cxn ang="0">
                  <a:pos x="0" y="96"/>
                </a:cxn>
                <a:cxn ang="0">
                  <a:pos x="0" y="88"/>
                </a:cxn>
                <a:cxn ang="0">
                  <a:pos x="2" y="82"/>
                </a:cxn>
                <a:cxn ang="0">
                  <a:pos x="30" y="41"/>
                </a:cxn>
                <a:cxn ang="0">
                  <a:pos x="30" y="41"/>
                </a:cxn>
                <a:cxn ang="0">
                  <a:pos x="35" y="31"/>
                </a:cxn>
                <a:cxn ang="0">
                  <a:pos x="41" y="25"/>
                </a:cxn>
                <a:cxn ang="0">
                  <a:pos x="88" y="0"/>
                </a:cxn>
                <a:cxn ang="0">
                  <a:pos x="88" y="0"/>
                </a:cxn>
                <a:cxn ang="0">
                  <a:pos x="86" y="2"/>
                </a:cxn>
              </a:cxnLst>
              <a:rect l="0" t="0" r="r" b="b"/>
              <a:pathLst>
                <a:path w="88" h="111">
                  <a:moveTo>
                    <a:pt x="67" y="65"/>
                  </a:moveTo>
                  <a:lnTo>
                    <a:pt x="35" y="104"/>
                  </a:lnTo>
                  <a:lnTo>
                    <a:pt x="35" y="104"/>
                  </a:lnTo>
                  <a:lnTo>
                    <a:pt x="30" y="108"/>
                  </a:lnTo>
                  <a:lnTo>
                    <a:pt x="22" y="111"/>
                  </a:lnTo>
                  <a:lnTo>
                    <a:pt x="14" y="111"/>
                  </a:lnTo>
                  <a:lnTo>
                    <a:pt x="8" y="108"/>
                  </a:lnTo>
                  <a:lnTo>
                    <a:pt x="8" y="108"/>
                  </a:lnTo>
                  <a:lnTo>
                    <a:pt x="2" y="104"/>
                  </a:lnTo>
                  <a:lnTo>
                    <a:pt x="0" y="96"/>
                  </a:lnTo>
                  <a:lnTo>
                    <a:pt x="0" y="88"/>
                  </a:lnTo>
                  <a:lnTo>
                    <a:pt x="2" y="82"/>
                  </a:lnTo>
                  <a:lnTo>
                    <a:pt x="30" y="41"/>
                  </a:lnTo>
                  <a:lnTo>
                    <a:pt x="30" y="41"/>
                  </a:lnTo>
                  <a:lnTo>
                    <a:pt x="35" y="31"/>
                  </a:lnTo>
                  <a:lnTo>
                    <a:pt x="41" y="25"/>
                  </a:lnTo>
                  <a:lnTo>
                    <a:pt x="88" y="0"/>
                  </a:lnTo>
                  <a:lnTo>
                    <a:pt x="88" y="0"/>
                  </a:lnTo>
                  <a:lnTo>
                    <a:pt x="86" y="2"/>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4"/>
            <p:cNvSpPr>
              <a:spLocks/>
            </p:cNvSpPr>
            <p:nvPr/>
          </p:nvSpPr>
          <p:spPr bwMode="auto">
            <a:xfrm>
              <a:off x="2915" y="3569"/>
              <a:ext cx="17" cy="99"/>
            </a:xfrm>
            <a:custGeom>
              <a:avLst/>
              <a:gdLst/>
              <a:ahLst/>
              <a:cxnLst>
                <a:cxn ang="0">
                  <a:pos x="0" y="193"/>
                </a:cxn>
                <a:cxn ang="0">
                  <a:pos x="26" y="199"/>
                </a:cxn>
                <a:cxn ang="0">
                  <a:pos x="35" y="152"/>
                </a:cxn>
                <a:cxn ang="0">
                  <a:pos x="35" y="152"/>
                </a:cxn>
                <a:cxn ang="0">
                  <a:pos x="31" y="138"/>
                </a:cxn>
                <a:cxn ang="0">
                  <a:pos x="31" y="138"/>
                </a:cxn>
                <a:cxn ang="0">
                  <a:pos x="26" y="105"/>
                </a:cxn>
                <a:cxn ang="0">
                  <a:pos x="24" y="72"/>
                </a:cxn>
                <a:cxn ang="0">
                  <a:pos x="24" y="72"/>
                </a:cxn>
                <a:cxn ang="0">
                  <a:pos x="24" y="62"/>
                </a:cxn>
                <a:cxn ang="0">
                  <a:pos x="24" y="62"/>
                </a:cxn>
                <a:cxn ang="0">
                  <a:pos x="24" y="39"/>
                </a:cxn>
                <a:cxn ang="0">
                  <a:pos x="24" y="19"/>
                </a:cxn>
                <a:cxn ang="0">
                  <a:pos x="28" y="0"/>
                </a:cxn>
              </a:cxnLst>
              <a:rect l="0" t="0" r="r" b="b"/>
              <a:pathLst>
                <a:path w="35" h="199">
                  <a:moveTo>
                    <a:pt x="0" y="193"/>
                  </a:moveTo>
                  <a:lnTo>
                    <a:pt x="26" y="199"/>
                  </a:lnTo>
                  <a:lnTo>
                    <a:pt x="35" y="152"/>
                  </a:lnTo>
                  <a:lnTo>
                    <a:pt x="35" y="152"/>
                  </a:lnTo>
                  <a:lnTo>
                    <a:pt x="31" y="138"/>
                  </a:lnTo>
                  <a:lnTo>
                    <a:pt x="31" y="138"/>
                  </a:lnTo>
                  <a:lnTo>
                    <a:pt x="26" y="105"/>
                  </a:lnTo>
                  <a:lnTo>
                    <a:pt x="24" y="72"/>
                  </a:lnTo>
                  <a:lnTo>
                    <a:pt x="24" y="72"/>
                  </a:lnTo>
                  <a:lnTo>
                    <a:pt x="24" y="62"/>
                  </a:lnTo>
                  <a:lnTo>
                    <a:pt x="24" y="62"/>
                  </a:lnTo>
                  <a:lnTo>
                    <a:pt x="24" y="39"/>
                  </a:lnTo>
                  <a:lnTo>
                    <a:pt x="24" y="19"/>
                  </a:lnTo>
                  <a:lnTo>
                    <a:pt x="28" y="0"/>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45"/>
            <p:cNvSpPr>
              <a:spLocks/>
            </p:cNvSpPr>
            <p:nvPr/>
          </p:nvSpPr>
          <p:spPr bwMode="auto">
            <a:xfrm>
              <a:off x="2873" y="3615"/>
              <a:ext cx="163" cy="101"/>
            </a:xfrm>
            <a:custGeom>
              <a:avLst/>
              <a:gdLst/>
              <a:ahLst/>
              <a:cxnLst>
                <a:cxn ang="0">
                  <a:pos x="184" y="0"/>
                </a:cxn>
                <a:cxn ang="0">
                  <a:pos x="184" y="0"/>
                </a:cxn>
                <a:cxn ang="0">
                  <a:pos x="190" y="35"/>
                </a:cxn>
                <a:cxn ang="0">
                  <a:pos x="190" y="35"/>
                </a:cxn>
                <a:cxn ang="0">
                  <a:pos x="190" y="39"/>
                </a:cxn>
                <a:cxn ang="0">
                  <a:pos x="250" y="76"/>
                </a:cxn>
                <a:cxn ang="0">
                  <a:pos x="250" y="76"/>
                </a:cxn>
                <a:cxn ang="0">
                  <a:pos x="256" y="82"/>
                </a:cxn>
                <a:cxn ang="0">
                  <a:pos x="256" y="82"/>
                </a:cxn>
                <a:cxn ang="0">
                  <a:pos x="320" y="154"/>
                </a:cxn>
                <a:cxn ang="0">
                  <a:pos x="320" y="154"/>
                </a:cxn>
                <a:cxn ang="0">
                  <a:pos x="324" y="158"/>
                </a:cxn>
                <a:cxn ang="0">
                  <a:pos x="326" y="164"/>
                </a:cxn>
                <a:cxn ang="0">
                  <a:pos x="326" y="175"/>
                </a:cxn>
                <a:cxn ang="0">
                  <a:pos x="324" y="185"/>
                </a:cxn>
                <a:cxn ang="0">
                  <a:pos x="320" y="191"/>
                </a:cxn>
                <a:cxn ang="0">
                  <a:pos x="316" y="195"/>
                </a:cxn>
                <a:cxn ang="0">
                  <a:pos x="316" y="195"/>
                </a:cxn>
                <a:cxn ang="0">
                  <a:pos x="313" y="199"/>
                </a:cxn>
                <a:cxn ang="0">
                  <a:pos x="307" y="201"/>
                </a:cxn>
                <a:cxn ang="0">
                  <a:pos x="297" y="203"/>
                </a:cxn>
                <a:cxn ang="0">
                  <a:pos x="285" y="199"/>
                </a:cxn>
                <a:cxn ang="0">
                  <a:pos x="281" y="197"/>
                </a:cxn>
                <a:cxn ang="0">
                  <a:pos x="277" y="193"/>
                </a:cxn>
                <a:cxn ang="0">
                  <a:pos x="217" y="123"/>
                </a:cxn>
                <a:cxn ang="0">
                  <a:pos x="170" y="95"/>
                </a:cxn>
                <a:cxn ang="0">
                  <a:pos x="160" y="146"/>
                </a:cxn>
                <a:cxn ang="0">
                  <a:pos x="160" y="146"/>
                </a:cxn>
                <a:cxn ang="0">
                  <a:pos x="160" y="152"/>
                </a:cxn>
                <a:cxn ang="0">
                  <a:pos x="156" y="156"/>
                </a:cxn>
                <a:cxn ang="0">
                  <a:pos x="149" y="164"/>
                </a:cxn>
                <a:cxn ang="0">
                  <a:pos x="139" y="169"/>
                </a:cxn>
                <a:cxn ang="0">
                  <a:pos x="133" y="169"/>
                </a:cxn>
                <a:cxn ang="0">
                  <a:pos x="127" y="169"/>
                </a:cxn>
                <a:cxn ang="0">
                  <a:pos x="127" y="169"/>
                </a:cxn>
                <a:cxn ang="0">
                  <a:pos x="127" y="169"/>
                </a:cxn>
                <a:cxn ang="0">
                  <a:pos x="24" y="148"/>
                </a:cxn>
                <a:cxn ang="0">
                  <a:pos x="24" y="148"/>
                </a:cxn>
                <a:cxn ang="0">
                  <a:pos x="18" y="146"/>
                </a:cxn>
                <a:cxn ang="0">
                  <a:pos x="12" y="144"/>
                </a:cxn>
                <a:cxn ang="0">
                  <a:pos x="4" y="136"/>
                </a:cxn>
                <a:cxn ang="0">
                  <a:pos x="0" y="126"/>
                </a:cxn>
                <a:cxn ang="0">
                  <a:pos x="0" y="121"/>
                </a:cxn>
                <a:cxn ang="0">
                  <a:pos x="0" y="115"/>
                </a:cxn>
                <a:cxn ang="0">
                  <a:pos x="0" y="115"/>
                </a:cxn>
                <a:cxn ang="0">
                  <a:pos x="2" y="109"/>
                </a:cxn>
                <a:cxn ang="0">
                  <a:pos x="4" y="103"/>
                </a:cxn>
                <a:cxn ang="0">
                  <a:pos x="12" y="95"/>
                </a:cxn>
                <a:cxn ang="0">
                  <a:pos x="22" y="91"/>
                </a:cxn>
                <a:cxn ang="0">
                  <a:pos x="28" y="91"/>
                </a:cxn>
                <a:cxn ang="0">
                  <a:pos x="33" y="91"/>
                </a:cxn>
                <a:cxn ang="0">
                  <a:pos x="51" y="95"/>
                </a:cxn>
              </a:cxnLst>
              <a:rect l="0" t="0" r="r" b="b"/>
              <a:pathLst>
                <a:path w="326" h="203">
                  <a:moveTo>
                    <a:pt x="184" y="0"/>
                  </a:moveTo>
                  <a:lnTo>
                    <a:pt x="184" y="0"/>
                  </a:lnTo>
                  <a:lnTo>
                    <a:pt x="190" y="35"/>
                  </a:lnTo>
                  <a:lnTo>
                    <a:pt x="190" y="35"/>
                  </a:lnTo>
                  <a:lnTo>
                    <a:pt x="190" y="39"/>
                  </a:lnTo>
                  <a:lnTo>
                    <a:pt x="250" y="76"/>
                  </a:lnTo>
                  <a:lnTo>
                    <a:pt x="250" y="76"/>
                  </a:lnTo>
                  <a:lnTo>
                    <a:pt x="256" y="82"/>
                  </a:lnTo>
                  <a:lnTo>
                    <a:pt x="256" y="82"/>
                  </a:lnTo>
                  <a:lnTo>
                    <a:pt x="320" y="154"/>
                  </a:lnTo>
                  <a:lnTo>
                    <a:pt x="320" y="154"/>
                  </a:lnTo>
                  <a:lnTo>
                    <a:pt x="324" y="158"/>
                  </a:lnTo>
                  <a:lnTo>
                    <a:pt x="326" y="164"/>
                  </a:lnTo>
                  <a:lnTo>
                    <a:pt x="326" y="175"/>
                  </a:lnTo>
                  <a:lnTo>
                    <a:pt x="324" y="185"/>
                  </a:lnTo>
                  <a:lnTo>
                    <a:pt x="320" y="191"/>
                  </a:lnTo>
                  <a:lnTo>
                    <a:pt x="316" y="195"/>
                  </a:lnTo>
                  <a:lnTo>
                    <a:pt x="316" y="195"/>
                  </a:lnTo>
                  <a:lnTo>
                    <a:pt x="313" y="199"/>
                  </a:lnTo>
                  <a:lnTo>
                    <a:pt x="307" y="201"/>
                  </a:lnTo>
                  <a:lnTo>
                    <a:pt x="297" y="203"/>
                  </a:lnTo>
                  <a:lnTo>
                    <a:pt x="285" y="199"/>
                  </a:lnTo>
                  <a:lnTo>
                    <a:pt x="281" y="197"/>
                  </a:lnTo>
                  <a:lnTo>
                    <a:pt x="277" y="193"/>
                  </a:lnTo>
                  <a:lnTo>
                    <a:pt x="217" y="123"/>
                  </a:lnTo>
                  <a:lnTo>
                    <a:pt x="170" y="95"/>
                  </a:lnTo>
                  <a:lnTo>
                    <a:pt x="160" y="146"/>
                  </a:lnTo>
                  <a:lnTo>
                    <a:pt x="160" y="146"/>
                  </a:lnTo>
                  <a:lnTo>
                    <a:pt x="160" y="152"/>
                  </a:lnTo>
                  <a:lnTo>
                    <a:pt x="156" y="156"/>
                  </a:lnTo>
                  <a:lnTo>
                    <a:pt x="149" y="164"/>
                  </a:lnTo>
                  <a:lnTo>
                    <a:pt x="139" y="169"/>
                  </a:lnTo>
                  <a:lnTo>
                    <a:pt x="133" y="169"/>
                  </a:lnTo>
                  <a:lnTo>
                    <a:pt x="127" y="169"/>
                  </a:lnTo>
                  <a:lnTo>
                    <a:pt x="127" y="169"/>
                  </a:lnTo>
                  <a:lnTo>
                    <a:pt x="127" y="169"/>
                  </a:lnTo>
                  <a:lnTo>
                    <a:pt x="24" y="148"/>
                  </a:lnTo>
                  <a:lnTo>
                    <a:pt x="24" y="148"/>
                  </a:lnTo>
                  <a:lnTo>
                    <a:pt x="18" y="146"/>
                  </a:lnTo>
                  <a:lnTo>
                    <a:pt x="12" y="144"/>
                  </a:lnTo>
                  <a:lnTo>
                    <a:pt x="4" y="136"/>
                  </a:lnTo>
                  <a:lnTo>
                    <a:pt x="0" y="126"/>
                  </a:lnTo>
                  <a:lnTo>
                    <a:pt x="0" y="121"/>
                  </a:lnTo>
                  <a:lnTo>
                    <a:pt x="0" y="115"/>
                  </a:lnTo>
                  <a:lnTo>
                    <a:pt x="0" y="115"/>
                  </a:lnTo>
                  <a:lnTo>
                    <a:pt x="2" y="109"/>
                  </a:lnTo>
                  <a:lnTo>
                    <a:pt x="4" y="103"/>
                  </a:lnTo>
                  <a:lnTo>
                    <a:pt x="12" y="95"/>
                  </a:lnTo>
                  <a:lnTo>
                    <a:pt x="22" y="91"/>
                  </a:lnTo>
                  <a:lnTo>
                    <a:pt x="28" y="91"/>
                  </a:lnTo>
                  <a:lnTo>
                    <a:pt x="33" y="91"/>
                  </a:lnTo>
                  <a:lnTo>
                    <a:pt x="51" y="9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46"/>
            <p:cNvSpPr>
              <a:spLocks/>
            </p:cNvSpPr>
            <p:nvPr/>
          </p:nvSpPr>
          <p:spPr bwMode="auto">
            <a:xfrm>
              <a:off x="2928" y="3558"/>
              <a:ext cx="37" cy="32"/>
            </a:xfrm>
            <a:custGeom>
              <a:avLst/>
              <a:gdLst/>
              <a:ahLst/>
              <a:cxnLst>
                <a:cxn ang="0">
                  <a:pos x="0" y="28"/>
                </a:cxn>
                <a:cxn ang="0">
                  <a:pos x="0" y="28"/>
                </a:cxn>
                <a:cxn ang="0">
                  <a:pos x="1" y="22"/>
                </a:cxn>
                <a:cxn ang="0">
                  <a:pos x="5" y="16"/>
                </a:cxn>
                <a:cxn ang="0">
                  <a:pos x="15" y="8"/>
                </a:cxn>
                <a:cxn ang="0">
                  <a:pos x="27" y="2"/>
                </a:cxn>
                <a:cxn ang="0">
                  <a:pos x="33" y="0"/>
                </a:cxn>
                <a:cxn ang="0">
                  <a:pos x="40" y="2"/>
                </a:cxn>
                <a:cxn ang="0">
                  <a:pos x="40" y="2"/>
                </a:cxn>
                <a:cxn ang="0">
                  <a:pos x="48" y="4"/>
                </a:cxn>
                <a:cxn ang="0">
                  <a:pos x="54" y="6"/>
                </a:cxn>
                <a:cxn ang="0">
                  <a:pos x="60" y="10"/>
                </a:cxn>
                <a:cxn ang="0">
                  <a:pos x="66" y="16"/>
                </a:cxn>
                <a:cxn ang="0">
                  <a:pos x="70" y="22"/>
                </a:cxn>
                <a:cxn ang="0">
                  <a:pos x="72" y="30"/>
                </a:cxn>
                <a:cxn ang="0">
                  <a:pos x="74" y="35"/>
                </a:cxn>
                <a:cxn ang="0">
                  <a:pos x="74" y="43"/>
                </a:cxn>
                <a:cxn ang="0">
                  <a:pos x="74" y="43"/>
                </a:cxn>
                <a:cxn ang="0">
                  <a:pos x="72" y="65"/>
                </a:cxn>
              </a:cxnLst>
              <a:rect l="0" t="0" r="r" b="b"/>
              <a:pathLst>
                <a:path w="74" h="65">
                  <a:moveTo>
                    <a:pt x="0" y="28"/>
                  </a:moveTo>
                  <a:lnTo>
                    <a:pt x="0" y="28"/>
                  </a:lnTo>
                  <a:lnTo>
                    <a:pt x="1" y="22"/>
                  </a:lnTo>
                  <a:lnTo>
                    <a:pt x="5" y="16"/>
                  </a:lnTo>
                  <a:lnTo>
                    <a:pt x="15" y="8"/>
                  </a:lnTo>
                  <a:lnTo>
                    <a:pt x="27" y="2"/>
                  </a:lnTo>
                  <a:lnTo>
                    <a:pt x="33" y="0"/>
                  </a:lnTo>
                  <a:lnTo>
                    <a:pt x="40" y="2"/>
                  </a:lnTo>
                  <a:lnTo>
                    <a:pt x="40" y="2"/>
                  </a:lnTo>
                  <a:lnTo>
                    <a:pt x="48" y="4"/>
                  </a:lnTo>
                  <a:lnTo>
                    <a:pt x="54" y="6"/>
                  </a:lnTo>
                  <a:lnTo>
                    <a:pt x="60" y="10"/>
                  </a:lnTo>
                  <a:lnTo>
                    <a:pt x="66" y="16"/>
                  </a:lnTo>
                  <a:lnTo>
                    <a:pt x="70" y="22"/>
                  </a:lnTo>
                  <a:lnTo>
                    <a:pt x="72" y="30"/>
                  </a:lnTo>
                  <a:lnTo>
                    <a:pt x="74" y="35"/>
                  </a:lnTo>
                  <a:lnTo>
                    <a:pt x="74" y="43"/>
                  </a:lnTo>
                  <a:lnTo>
                    <a:pt x="74" y="43"/>
                  </a:lnTo>
                  <a:lnTo>
                    <a:pt x="72" y="6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47"/>
            <p:cNvSpPr>
              <a:spLocks/>
            </p:cNvSpPr>
            <p:nvPr/>
          </p:nvSpPr>
          <p:spPr bwMode="auto">
            <a:xfrm>
              <a:off x="2930" y="3562"/>
              <a:ext cx="68" cy="62"/>
            </a:xfrm>
            <a:custGeom>
              <a:avLst/>
              <a:gdLst/>
              <a:ahLst/>
              <a:cxnLst>
                <a:cxn ang="0">
                  <a:pos x="2" y="29"/>
                </a:cxn>
                <a:cxn ang="0">
                  <a:pos x="2" y="29"/>
                </a:cxn>
                <a:cxn ang="0">
                  <a:pos x="0" y="23"/>
                </a:cxn>
                <a:cxn ang="0">
                  <a:pos x="0" y="16"/>
                </a:cxn>
                <a:cxn ang="0">
                  <a:pos x="2" y="8"/>
                </a:cxn>
                <a:cxn ang="0">
                  <a:pos x="8" y="4"/>
                </a:cxn>
                <a:cxn ang="0">
                  <a:pos x="8" y="4"/>
                </a:cxn>
                <a:cxn ang="0">
                  <a:pos x="16" y="0"/>
                </a:cxn>
                <a:cxn ang="0">
                  <a:pos x="24" y="0"/>
                </a:cxn>
                <a:cxn ang="0">
                  <a:pos x="30" y="4"/>
                </a:cxn>
                <a:cxn ang="0">
                  <a:pos x="36" y="10"/>
                </a:cxn>
                <a:cxn ang="0">
                  <a:pos x="69" y="63"/>
                </a:cxn>
                <a:cxn ang="0">
                  <a:pos x="123" y="86"/>
                </a:cxn>
                <a:cxn ang="0">
                  <a:pos x="123" y="86"/>
                </a:cxn>
                <a:cxn ang="0">
                  <a:pos x="129" y="90"/>
                </a:cxn>
                <a:cxn ang="0">
                  <a:pos x="133" y="96"/>
                </a:cxn>
                <a:cxn ang="0">
                  <a:pos x="135" y="104"/>
                </a:cxn>
                <a:cxn ang="0">
                  <a:pos x="133" y="111"/>
                </a:cxn>
                <a:cxn ang="0">
                  <a:pos x="133" y="111"/>
                </a:cxn>
                <a:cxn ang="0">
                  <a:pos x="129" y="117"/>
                </a:cxn>
                <a:cxn ang="0">
                  <a:pos x="121" y="121"/>
                </a:cxn>
                <a:cxn ang="0">
                  <a:pos x="116" y="123"/>
                </a:cxn>
                <a:cxn ang="0">
                  <a:pos x="108" y="121"/>
                </a:cxn>
                <a:cxn ang="0">
                  <a:pos x="49" y="96"/>
                </a:cxn>
                <a:cxn ang="0">
                  <a:pos x="49" y="96"/>
                </a:cxn>
                <a:cxn ang="0">
                  <a:pos x="43" y="94"/>
                </a:cxn>
                <a:cxn ang="0">
                  <a:pos x="39" y="88"/>
                </a:cxn>
                <a:cxn ang="0">
                  <a:pos x="2" y="29"/>
                </a:cxn>
              </a:cxnLst>
              <a:rect l="0" t="0" r="r" b="b"/>
              <a:pathLst>
                <a:path w="135" h="123">
                  <a:moveTo>
                    <a:pt x="2" y="29"/>
                  </a:moveTo>
                  <a:lnTo>
                    <a:pt x="2" y="29"/>
                  </a:lnTo>
                  <a:lnTo>
                    <a:pt x="0" y="23"/>
                  </a:lnTo>
                  <a:lnTo>
                    <a:pt x="0" y="16"/>
                  </a:lnTo>
                  <a:lnTo>
                    <a:pt x="2" y="8"/>
                  </a:lnTo>
                  <a:lnTo>
                    <a:pt x="8" y="4"/>
                  </a:lnTo>
                  <a:lnTo>
                    <a:pt x="8" y="4"/>
                  </a:lnTo>
                  <a:lnTo>
                    <a:pt x="16" y="0"/>
                  </a:lnTo>
                  <a:lnTo>
                    <a:pt x="24" y="0"/>
                  </a:lnTo>
                  <a:lnTo>
                    <a:pt x="30" y="4"/>
                  </a:lnTo>
                  <a:lnTo>
                    <a:pt x="36" y="10"/>
                  </a:lnTo>
                  <a:lnTo>
                    <a:pt x="69" y="63"/>
                  </a:lnTo>
                  <a:lnTo>
                    <a:pt x="123" y="86"/>
                  </a:lnTo>
                  <a:lnTo>
                    <a:pt x="123" y="86"/>
                  </a:lnTo>
                  <a:lnTo>
                    <a:pt x="129" y="90"/>
                  </a:lnTo>
                  <a:lnTo>
                    <a:pt x="133" y="96"/>
                  </a:lnTo>
                  <a:lnTo>
                    <a:pt x="135" y="104"/>
                  </a:lnTo>
                  <a:lnTo>
                    <a:pt x="133" y="111"/>
                  </a:lnTo>
                  <a:lnTo>
                    <a:pt x="133" y="111"/>
                  </a:lnTo>
                  <a:lnTo>
                    <a:pt x="129" y="117"/>
                  </a:lnTo>
                  <a:lnTo>
                    <a:pt x="121" y="121"/>
                  </a:lnTo>
                  <a:lnTo>
                    <a:pt x="116" y="123"/>
                  </a:lnTo>
                  <a:lnTo>
                    <a:pt x="108" y="121"/>
                  </a:lnTo>
                  <a:lnTo>
                    <a:pt x="49" y="96"/>
                  </a:lnTo>
                  <a:lnTo>
                    <a:pt x="49" y="96"/>
                  </a:lnTo>
                  <a:lnTo>
                    <a:pt x="43" y="94"/>
                  </a:lnTo>
                  <a:lnTo>
                    <a:pt x="39" y="88"/>
                  </a:lnTo>
                  <a:lnTo>
                    <a:pt x="2" y="29"/>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8"/>
            <p:cNvSpPr>
              <a:spLocks noEditPoints="1"/>
            </p:cNvSpPr>
            <p:nvPr/>
          </p:nvSpPr>
          <p:spPr bwMode="auto">
            <a:xfrm>
              <a:off x="216" y="3701"/>
              <a:ext cx="126" cy="139"/>
            </a:xfrm>
            <a:custGeom>
              <a:avLst/>
              <a:gdLst/>
              <a:ahLst/>
              <a:cxnLst>
                <a:cxn ang="0">
                  <a:pos x="238" y="278"/>
                </a:cxn>
                <a:cxn ang="0">
                  <a:pos x="211" y="280"/>
                </a:cxn>
                <a:cxn ang="0">
                  <a:pos x="193" y="270"/>
                </a:cxn>
                <a:cxn ang="0">
                  <a:pos x="183" y="248"/>
                </a:cxn>
                <a:cxn ang="0">
                  <a:pos x="174" y="248"/>
                </a:cxn>
                <a:cxn ang="0">
                  <a:pos x="141" y="270"/>
                </a:cxn>
                <a:cxn ang="0">
                  <a:pos x="102" y="280"/>
                </a:cxn>
                <a:cxn ang="0">
                  <a:pos x="70" y="280"/>
                </a:cxn>
                <a:cxn ang="0">
                  <a:pos x="25" y="262"/>
                </a:cxn>
                <a:cxn ang="0">
                  <a:pos x="2" y="223"/>
                </a:cxn>
                <a:cxn ang="0">
                  <a:pos x="2" y="184"/>
                </a:cxn>
                <a:cxn ang="0">
                  <a:pos x="27" y="145"/>
                </a:cxn>
                <a:cxn ang="0">
                  <a:pos x="74" y="127"/>
                </a:cxn>
                <a:cxn ang="0">
                  <a:pos x="125" y="118"/>
                </a:cxn>
                <a:cxn ang="0">
                  <a:pos x="174" y="102"/>
                </a:cxn>
                <a:cxn ang="0">
                  <a:pos x="180" y="84"/>
                </a:cxn>
                <a:cxn ang="0">
                  <a:pos x="170" y="53"/>
                </a:cxn>
                <a:cxn ang="0">
                  <a:pos x="142" y="41"/>
                </a:cxn>
                <a:cxn ang="0">
                  <a:pos x="107" y="39"/>
                </a:cxn>
                <a:cxn ang="0">
                  <a:pos x="74" y="49"/>
                </a:cxn>
                <a:cxn ang="0">
                  <a:pos x="57" y="77"/>
                </a:cxn>
                <a:cxn ang="0">
                  <a:pos x="10" y="90"/>
                </a:cxn>
                <a:cxn ang="0">
                  <a:pos x="16" y="57"/>
                </a:cxn>
                <a:cxn ang="0">
                  <a:pos x="31" y="32"/>
                </a:cxn>
                <a:cxn ang="0">
                  <a:pos x="82" y="4"/>
                </a:cxn>
                <a:cxn ang="0">
                  <a:pos x="123" y="0"/>
                </a:cxn>
                <a:cxn ang="0">
                  <a:pos x="176" y="6"/>
                </a:cxn>
                <a:cxn ang="0">
                  <a:pos x="211" y="30"/>
                </a:cxn>
                <a:cxn ang="0">
                  <a:pos x="223" y="53"/>
                </a:cxn>
                <a:cxn ang="0">
                  <a:pos x="224" y="211"/>
                </a:cxn>
                <a:cxn ang="0">
                  <a:pos x="226" y="235"/>
                </a:cxn>
                <a:cxn ang="0">
                  <a:pos x="238" y="241"/>
                </a:cxn>
                <a:cxn ang="0">
                  <a:pos x="252" y="239"/>
                </a:cxn>
                <a:cxn ang="0">
                  <a:pos x="180" y="135"/>
                </a:cxn>
                <a:cxn ang="0">
                  <a:pos x="144" y="147"/>
                </a:cxn>
                <a:cxn ang="0">
                  <a:pos x="80" y="159"/>
                </a:cxn>
                <a:cxn ang="0">
                  <a:pos x="57" y="174"/>
                </a:cxn>
                <a:cxn ang="0">
                  <a:pos x="47" y="202"/>
                </a:cxn>
                <a:cxn ang="0">
                  <a:pos x="51" y="221"/>
                </a:cxn>
                <a:cxn ang="0">
                  <a:pos x="70" y="237"/>
                </a:cxn>
                <a:cxn ang="0">
                  <a:pos x="98" y="241"/>
                </a:cxn>
                <a:cxn ang="0">
                  <a:pos x="150" y="229"/>
                </a:cxn>
                <a:cxn ang="0">
                  <a:pos x="176" y="202"/>
                </a:cxn>
                <a:cxn ang="0">
                  <a:pos x="180" y="135"/>
                </a:cxn>
              </a:cxnLst>
              <a:rect l="0" t="0" r="r" b="b"/>
              <a:pathLst>
                <a:path w="252" h="280">
                  <a:moveTo>
                    <a:pt x="252" y="274"/>
                  </a:moveTo>
                  <a:lnTo>
                    <a:pt x="252" y="274"/>
                  </a:lnTo>
                  <a:lnTo>
                    <a:pt x="238" y="278"/>
                  </a:lnTo>
                  <a:lnTo>
                    <a:pt x="221" y="280"/>
                  </a:lnTo>
                  <a:lnTo>
                    <a:pt x="221" y="280"/>
                  </a:lnTo>
                  <a:lnTo>
                    <a:pt x="211" y="280"/>
                  </a:lnTo>
                  <a:lnTo>
                    <a:pt x="205" y="278"/>
                  </a:lnTo>
                  <a:lnTo>
                    <a:pt x="197" y="276"/>
                  </a:lnTo>
                  <a:lnTo>
                    <a:pt x="193" y="270"/>
                  </a:lnTo>
                  <a:lnTo>
                    <a:pt x="189" y="264"/>
                  </a:lnTo>
                  <a:lnTo>
                    <a:pt x="185" y="258"/>
                  </a:lnTo>
                  <a:lnTo>
                    <a:pt x="183" y="248"/>
                  </a:lnTo>
                  <a:lnTo>
                    <a:pt x="183" y="239"/>
                  </a:lnTo>
                  <a:lnTo>
                    <a:pt x="183" y="239"/>
                  </a:lnTo>
                  <a:lnTo>
                    <a:pt x="174" y="248"/>
                  </a:lnTo>
                  <a:lnTo>
                    <a:pt x="162" y="258"/>
                  </a:lnTo>
                  <a:lnTo>
                    <a:pt x="152" y="264"/>
                  </a:lnTo>
                  <a:lnTo>
                    <a:pt x="141" y="270"/>
                  </a:lnTo>
                  <a:lnTo>
                    <a:pt x="129" y="274"/>
                  </a:lnTo>
                  <a:lnTo>
                    <a:pt x="115" y="278"/>
                  </a:lnTo>
                  <a:lnTo>
                    <a:pt x="102" y="280"/>
                  </a:lnTo>
                  <a:lnTo>
                    <a:pt x="88" y="280"/>
                  </a:lnTo>
                  <a:lnTo>
                    <a:pt x="88" y="280"/>
                  </a:lnTo>
                  <a:lnTo>
                    <a:pt x="70" y="280"/>
                  </a:lnTo>
                  <a:lnTo>
                    <a:pt x="55" y="276"/>
                  </a:lnTo>
                  <a:lnTo>
                    <a:pt x="39" y="270"/>
                  </a:lnTo>
                  <a:lnTo>
                    <a:pt x="25" y="262"/>
                  </a:lnTo>
                  <a:lnTo>
                    <a:pt x="16" y="252"/>
                  </a:lnTo>
                  <a:lnTo>
                    <a:pt x="6" y="239"/>
                  </a:lnTo>
                  <a:lnTo>
                    <a:pt x="2" y="223"/>
                  </a:lnTo>
                  <a:lnTo>
                    <a:pt x="0" y="206"/>
                  </a:lnTo>
                  <a:lnTo>
                    <a:pt x="0" y="206"/>
                  </a:lnTo>
                  <a:lnTo>
                    <a:pt x="2" y="184"/>
                  </a:lnTo>
                  <a:lnTo>
                    <a:pt x="8" y="168"/>
                  </a:lnTo>
                  <a:lnTo>
                    <a:pt x="16" y="155"/>
                  </a:lnTo>
                  <a:lnTo>
                    <a:pt x="27" y="145"/>
                  </a:lnTo>
                  <a:lnTo>
                    <a:pt x="41" y="137"/>
                  </a:lnTo>
                  <a:lnTo>
                    <a:pt x="57" y="131"/>
                  </a:lnTo>
                  <a:lnTo>
                    <a:pt x="74" y="127"/>
                  </a:lnTo>
                  <a:lnTo>
                    <a:pt x="90" y="123"/>
                  </a:lnTo>
                  <a:lnTo>
                    <a:pt x="90" y="123"/>
                  </a:lnTo>
                  <a:lnTo>
                    <a:pt x="125" y="118"/>
                  </a:lnTo>
                  <a:lnTo>
                    <a:pt x="154" y="112"/>
                  </a:lnTo>
                  <a:lnTo>
                    <a:pt x="164" y="108"/>
                  </a:lnTo>
                  <a:lnTo>
                    <a:pt x="174" y="102"/>
                  </a:lnTo>
                  <a:lnTo>
                    <a:pt x="180" y="94"/>
                  </a:lnTo>
                  <a:lnTo>
                    <a:pt x="180" y="84"/>
                  </a:lnTo>
                  <a:lnTo>
                    <a:pt x="180" y="84"/>
                  </a:lnTo>
                  <a:lnTo>
                    <a:pt x="180" y="71"/>
                  </a:lnTo>
                  <a:lnTo>
                    <a:pt x="176" y="61"/>
                  </a:lnTo>
                  <a:lnTo>
                    <a:pt x="170" y="53"/>
                  </a:lnTo>
                  <a:lnTo>
                    <a:pt x="162" y="47"/>
                  </a:lnTo>
                  <a:lnTo>
                    <a:pt x="152" y="43"/>
                  </a:lnTo>
                  <a:lnTo>
                    <a:pt x="142" y="41"/>
                  </a:lnTo>
                  <a:lnTo>
                    <a:pt x="121" y="39"/>
                  </a:lnTo>
                  <a:lnTo>
                    <a:pt x="121" y="39"/>
                  </a:lnTo>
                  <a:lnTo>
                    <a:pt x="107" y="39"/>
                  </a:lnTo>
                  <a:lnTo>
                    <a:pt x="96" y="41"/>
                  </a:lnTo>
                  <a:lnTo>
                    <a:pt x="84" y="45"/>
                  </a:lnTo>
                  <a:lnTo>
                    <a:pt x="74" y="49"/>
                  </a:lnTo>
                  <a:lnTo>
                    <a:pt x="66" y="57"/>
                  </a:lnTo>
                  <a:lnTo>
                    <a:pt x="61" y="65"/>
                  </a:lnTo>
                  <a:lnTo>
                    <a:pt x="57" y="77"/>
                  </a:lnTo>
                  <a:lnTo>
                    <a:pt x="55" y="90"/>
                  </a:lnTo>
                  <a:lnTo>
                    <a:pt x="10" y="90"/>
                  </a:lnTo>
                  <a:lnTo>
                    <a:pt x="10" y="90"/>
                  </a:lnTo>
                  <a:lnTo>
                    <a:pt x="12" y="79"/>
                  </a:lnTo>
                  <a:lnTo>
                    <a:pt x="14" y="67"/>
                  </a:lnTo>
                  <a:lnTo>
                    <a:pt x="16" y="57"/>
                  </a:lnTo>
                  <a:lnTo>
                    <a:pt x="21" y="47"/>
                  </a:lnTo>
                  <a:lnTo>
                    <a:pt x="25" y="39"/>
                  </a:lnTo>
                  <a:lnTo>
                    <a:pt x="31" y="32"/>
                  </a:lnTo>
                  <a:lnTo>
                    <a:pt x="45" y="20"/>
                  </a:lnTo>
                  <a:lnTo>
                    <a:pt x="62" y="10"/>
                  </a:lnTo>
                  <a:lnTo>
                    <a:pt x="82" y="4"/>
                  </a:lnTo>
                  <a:lnTo>
                    <a:pt x="102" y="0"/>
                  </a:lnTo>
                  <a:lnTo>
                    <a:pt x="123" y="0"/>
                  </a:lnTo>
                  <a:lnTo>
                    <a:pt x="123" y="0"/>
                  </a:lnTo>
                  <a:lnTo>
                    <a:pt x="142" y="0"/>
                  </a:lnTo>
                  <a:lnTo>
                    <a:pt x="160" y="2"/>
                  </a:lnTo>
                  <a:lnTo>
                    <a:pt x="176" y="6"/>
                  </a:lnTo>
                  <a:lnTo>
                    <a:pt x="191" y="14"/>
                  </a:lnTo>
                  <a:lnTo>
                    <a:pt x="205" y="22"/>
                  </a:lnTo>
                  <a:lnTo>
                    <a:pt x="211" y="30"/>
                  </a:lnTo>
                  <a:lnTo>
                    <a:pt x="215" y="36"/>
                  </a:lnTo>
                  <a:lnTo>
                    <a:pt x="219" y="43"/>
                  </a:lnTo>
                  <a:lnTo>
                    <a:pt x="223" y="53"/>
                  </a:lnTo>
                  <a:lnTo>
                    <a:pt x="223" y="63"/>
                  </a:lnTo>
                  <a:lnTo>
                    <a:pt x="224" y="73"/>
                  </a:lnTo>
                  <a:lnTo>
                    <a:pt x="224" y="211"/>
                  </a:lnTo>
                  <a:lnTo>
                    <a:pt x="224" y="211"/>
                  </a:lnTo>
                  <a:lnTo>
                    <a:pt x="224" y="225"/>
                  </a:lnTo>
                  <a:lnTo>
                    <a:pt x="226" y="235"/>
                  </a:lnTo>
                  <a:lnTo>
                    <a:pt x="228" y="237"/>
                  </a:lnTo>
                  <a:lnTo>
                    <a:pt x="230" y="241"/>
                  </a:lnTo>
                  <a:lnTo>
                    <a:pt x="238" y="241"/>
                  </a:lnTo>
                  <a:lnTo>
                    <a:pt x="238" y="241"/>
                  </a:lnTo>
                  <a:lnTo>
                    <a:pt x="244" y="241"/>
                  </a:lnTo>
                  <a:lnTo>
                    <a:pt x="252" y="239"/>
                  </a:lnTo>
                  <a:lnTo>
                    <a:pt x="252" y="274"/>
                  </a:lnTo>
                  <a:close/>
                  <a:moveTo>
                    <a:pt x="180" y="135"/>
                  </a:moveTo>
                  <a:lnTo>
                    <a:pt x="180" y="135"/>
                  </a:lnTo>
                  <a:lnTo>
                    <a:pt x="174" y="139"/>
                  </a:lnTo>
                  <a:lnTo>
                    <a:pt x="164" y="143"/>
                  </a:lnTo>
                  <a:lnTo>
                    <a:pt x="144" y="147"/>
                  </a:lnTo>
                  <a:lnTo>
                    <a:pt x="100" y="155"/>
                  </a:lnTo>
                  <a:lnTo>
                    <a:pt x="100" y="155"/>
                  </a:lnTo>
                  <a:lnTo>
                    <a:pt x="80" y="159"/>
                  </a:lnTo>
                  <a:lnTo>
                    <a:pt x="70" y="163"/>
                  </a:lnTo>
                  <a:lnTo>
                    <a:pt x="62" y="168"/>
                  </a:lnTo>
                  <a:lnTo>
                    <a:pt x="57" y="174"/>
                  </a:lnTo>
                  <a:lnTo>
                    <a:pt x="51" y="182"/>
                  </a:lnTo>
                  <a:lnTo>
                    <a:pt x="47" y="192"/>
                  </a:lnTo>
                  <a:lnTo>
                    <a:pt x="47" y="202"/>
                  </a:lnTo>
                  <a:lnTo>
                    <a:pt x="47" y="202"/>
                  </a:lnTo>
                  <a:lnTo>
                    <a:pt x="47" y="211"/>
                  </a:lnTo>
                  <a:lnTo>
                    <a:pt x="51" y="221"/>
                  </a:lnTo>
                  <a:lnTo>
                    <a:pt x="57" y="227"/>
                  </a:lnTo>
                  <a:lnTo>
                    <a:pt x="62" y="233"/>
                  </a:lnTo>
                  <a:lnTo>
                    <a:pt x="70" y="237"/>
                  </a:lnTo>
                  <a:lnTo>
                    <a:pt x="78" y="239"/>
                  </a:lnTo>
                  <a:lnTo>
                    <a:pt x="98" y="241"/>
                  </a:lnTo>
                  <a:lnTo>
                    <a:pt x="98" y="241"/>
                  </a:lnTo>
                  <a:lnTo>
                    <a:pt x="119" y="241"/>
                  </a:lnTo>
                  <a:lnTo>
                    <a:pt x="135" y="235"/>
                  </a:lnTo>
                  <a:lnTo>
                    <a:pt x="150" y="229"/>
                  </a:lnTo>
                  <a:lnTo>
                    <a:pt x="160" y="221"/>
                  </a:lnTo>
                  <a:lnTo>
                    <a:pt x="170" y="211"/>
                  </a:lnTo>
                  <a:lnTo>
                    <a:pt x="176" y="202"/>
                  </a:lnTo>
                  <a:lnTo>
                    <a:pt x="180" y="190"/>
                  </a:lnTo>
                  <a:lnTo>
                    <a:pt x="180" y="180"/>
                  </a:lnTo>
                  <a:lnTo>
                    <a:pt x="180" y="135"/>
                  </a:lnTo>
                  <a:close/>
                </a:path>
              </a:pathLst>
            </a:custGeom>
            <a:solidFill>
              <a:srgbClr val="C3D01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9"/>
            <p:cNvSpPr>
              <a:spLocks noEditPoints="1"/>
            </p:cNvSpPr>
            <p:nvPr/>
          </p:nvSpPr>
          <p:spPr bwMode="auto">
            <a:xfrm>
              <a:off x="335" y="3653"/>
              <a:ext cx="127" cy="187"/>
            </a:xfrm>
            <a:custGeom>
              <a:avLst/>
              <a:gdLst/>
              <a:ahLst/>
              <a:cxnLst>
                <a:cxn ang="0">
                  <a:pos x="211" y="369"/>
                </a:cxn>
                <a:cxn ang="0">
                  <a:pos x="209" y="334"/>
                </a:cxn>
                <a:cxn ang="0">
                  <a:pos x="203" y="343"/>
                </a:cxn>
                <a:cxn ang="0">
                  <a:pos x="186" y="359"/>
                </a:cxn>
                <a:cxn ang="0">
                  <a:pos x="164" y="369"/>
                </a:cxn>
                <a:cxn ang="0">
                  <a:pos x="139" y="375"/>
                </a:cxn>
                <a:cxn ang="0">
                  <a:pos x="125" y="375"/>
                </a:cxn>
                <a:cxn ang="0">
                  <a:pos x="96" y="373"/>
                </a:cxn>
                <a:cxn ang="0">
                  <a:pos x="70" y="365"/>
                </a:cxn>
                <a:cxn ang="0">
                  <a:pos x="49" y="351"/>
                </a:cxn>
                <a:cxn ang="0">
                  <a:pos x="31" y="334"/>
                </a:cxn>
                <a:cxn ang="0">
                  <a:pos x="18" y="312"/>
                </a:cxn>
                <a:cxn ang="0">
                  <a:pos x="2" y="261"/>
                </a:cxn>
                <a:cxn ang="0">
                  <a:pos x="0" y="234"/>
                </a:cxn>
                <a:cxn ang="0">
                  <a:pos x="8" y="181"/>
                </a:cxn>
                <a:cxn ang="0">
                  <a:pos x="24" y="146"/>
                </a:cxn>
                <a:cxn ang="0">
                  <a:pos x="39" y="127"/>
                </a:cxn>
                <a:cxn ang="0">
                  <a:pos x="59" y="113"/>
                </a:cxn>
                <a:cxn ang="0">
                  <a:pos x="82" y="101"/>
                </a:cxn>
                <a:cxn ang="0">
                  <a:pos x="107" y="95"/>
                </a:cxn>
                <a:cxn ang="0">
                  <a:pos x="123" y="95"/>
                </a:cxn>
                <a:cxn ang="0">
                  <a:pos x="158" y="99"/>
                </a:cxn>
                <a:cxn ang="0">
                  <a:pos x="182" y="109"/>
                </a:cxn>
                <a:cxn ang="0">
                  <a:pos x="201" y="127"/>
                </a:cxn>
                <a:cxn ang="0">
                  <a:pos x="211" y="136"/>
                </a:cxn>
                <a:cxn ang="0">
                  <a:pos x="254" y="0"/>
                </a:cxn>
                <a:cxn ang="0">
                  <a:pos x="131" y="336"/>
                </a:cxn>
                <a:cxn ang="0">
                  <a:pos x="141" y="336"/>
                </a:cxn>
                <a:cxn ang="0">
                  <a:pos x="160" y="332"/>
                </a:cxn>
                <a:cxn ang="0">
                  <a:pos x="182" y="318"/>
                </a:cxn>
                <a:cxn ang="0">
                  <a:pos x="201" y="289"/>
                </a:cxn>
                <a:cxn ang="0">
                  <a:pos x="211" y="254"/>
                </a:cxn>
                <a:cxn ang="0">
                  <a:pos x="213" y="236"/>
                </a:cxn>
                <a:cxn ang="0">
                  <a:pos x="207" y="197"/>
                </a:cxn>
                <a:cxn ang="0">
                  <a:pos x="193" y="166"/>
                </a:cxn>
                <a:cxn ang="0">
                  <a:pos x="166" y="142"/>
                </a:cxn>
                <a:cxn ang="0">
                  <a:pos x="148" y="136"/>
                </a:cxn>
                <a:cxn ang="0">
                  <a:pos x="127" y="134"/>
                </a:cxn>
                <a:cxn ang="0">
                  <a:pos x="117" y="134"/>
                </a:cxn>
                <a:cxn ang="0">
                  <a:pos x="98" y="138"/>
                </a:cxn>
                <a:cxn ang="0">
                  <a:pos x="76" y="152"/>
                </a:cxn>
                <a:cxn ang="0">
                  <a:pos x="57" y="181"/>
                </a:cxn>
                <a:cxn ang="0">
                  <a:pos x="49" y="218"/>
                </a:cxn>
                <a:cxn ang="0">
                  <a:pos x="47" y="238"/>
                </a:cxn>
                <a:cxn ang="0">
                  <a:pos x="53" y="275"/>
                </a:cxn>
                <a:cxn ang="0">
                  <a:pos x="68" y="306"/>
                </a:cxn>
                <a:cxn ang="0">
                  <a:pos x="94" y="328"/>
                </a:cxn>
                <a:cxn ang="0">
                  <a:pos x="131" y="336"/>
                </a:cxn>
              </a:cxnLst>
              <a:rect l="0" t="0" r="r" b="b"/>
              <a:pathLst>
                <a:path w="254" h="375">
                  <a:moveTo>
                    <a:pt x="254" y="369"/>
                  </a:moveTo>
                  <a:lnTo>
                    <a:pt x="211" y="369"/>
                  </a:lnTo>
                  <a:lnTo>
                    <a:pt x="211" y="334"/>
                  </a:lnTo>
                  <a:lnTo>
                    <a:pt x="209" y="334"/>
                  </a:lnTo>
                  <a:lnTo>
                    <a:pt x="209" y="334"/>
                  </a:lnTo>
                  <a:lnTo>
                    <a:pt x="203" y="343"/>
                  </a:lnTo>
                  <a:lnTo>
                    <a:pt x="195" y="351"/>
                  </a:lnTo>
                  <a:lnTo>
                    <a:pt x="186" y="359"/>
                  </a:lnTo>
                  <a:lnTo>
                    <a:pt x="176" y="365"/>
                  </a:lnTo>
                  <a:lnTo>
                    <a:pt x="164" y="369"/>
                  </a:lnTo>
                  <a:lnTo>
                    <a:pt x="150" y="373"/>
                  </a:lnTo>
                  <a:lnTo>
                    <a:pt x="139" y="375"/>
                  </a:lnTo>
                  <a:lnTo>
                    <a:pt x="125" y="375"/>
                  </a:lnTo>
                  <a:lnTo>
                    <a:pt x="125" y="375"/>
                  </a:lnTo>
                  <a:lnTo>
                    <a:pt x="109" y="375"/>
                  </a:lnTo>
                  <a:lnTo>
                    <a:pt x="96" y="373"/>
                  </a:lnTo>
                  <a:lnTo>
                    <a:pt x="82" y="369"/>
                  </a:lnTo>
                  <a:lnTo>
                    <a:pt x="70" y="365"/>
                  </a:lnTo>
                  <a:lnTo>
                    <a:pt x="59" y="357"/>
                  </a:lnTo>
                  <a:lnTo>
                    <a:pt x="49" y="351"/>
                  </a:lnTo>
                  <a:lnTo>
                    <a:pt x="39" y="343"/>
                  </a:lnTo>
                  <a:lnTo>
                    <a:pt x="31" y="334"/>
                  </a:lnTo>
                  <a:lnTo>
                    <a:pt x="26" y="324"/>
                  </a:lnTo>
                  <a:lnTo>
                    <a:pt x="18" y="312"/>
                  </a:lnTo>
                  <a:lnTo>
                    <a:pt x="8" y="289"/>
                  </a:lnTo>
                  <a:lnTo>
                    <a:pt x="2" y="261"/>
                  </a:lnTo>
                  <a:lnTo>
                    <a:pt x="0" y="234"/>
                  </a:lnTo>
                  <a:lnTo>
                    <a:pt x="0" y="234"/>
                  </a:lnTo>
                  <a:lnTo>
                    <a:pt x="2" y="207"/>
                  </a:lnTo>
                  <a:lnTo>
                    <a:pt x="8" y="181"/>
                  </a:lnTo>
                  <a:lnTo>
                    <a:pt x="18" y="158"/>
                  </a:lnTo>
                  <a:lnTo>
                    <a:pt x="24" y="146"/>
                  </a:lnTo>
                  <a:lnTo>
                    <a:pt x="31" y="136"/>
                  </a:lnTo>
                  <a:lnTo>
                    <a:pt x="39" y="127"/>
                  </a:lnTo>
                  <a:lnTo>
                    <a:pt x="49" y="119"/>
                  </a:lnTo>
                  <a:lnTo>
                    <a:pt x="59" y="113"/>
                  </a:lnTo>
                  <a:lnTo>
                    <a:pt x="70" y="107"/>
                  </a:lnTo>
                  <a:lnTo>
                    <a:pt x="82" y="101"/>
                  </a:lnTo>
                  <a:lnTo>
                    <a:pt x="94" y="97"/>
                  </a:lnTo>
                  <a:lnTo>
                    <a:pt x="107" y="95"/>
                  </a:lnTo>
                  <a:lnTo>
                    <a:pt x="123" y="95"/>
                  </a:lnTo>
                  <a:lnTo>
                    <a:pt x="123" y="95"/>
                  </a:lnTo>
                  <a:lnTo>
                    <a:pt x="147" y="97"/>
                  </a:lnTo>
                  <a:lnTo>
                    <a:pt x="158" y="99"/>
                  </a:lnTo>
                  <a:lnTo>
                    <a:pt x="170" y="105"/>
                  </a:lnTo>
                  <a:lnTo>
                    <a:pt x="182" y="109"/>
                  </a:lnTo>
                  <a:lnTo>
                    <a:pt x="191" y="117"/>
                  </a:lnTo>
                  <a:lnTo>
                    <a:pt x="201" y="127"/>
                  </a:lnTo>
                  <a:lnTo>
                    <a:pt x="209" y="136"/>
                  </a:lnTo>
                  <a:lnTo>
                    <a:pt x="211" y="136"/>
                  </a:lnTo>
                  <a:lnTo>
                    <a:pt x="211" y="0"/>
                  </a:lnTo>
                  <a:lnTo>
                    <a:pt x="254" y="0"/>
                  </a:lnTo>
                  <a:lnTo>
                    <a:pt x="254" y="369"/>
                  </a:lnTo>
                  <a:close/>
                  <a:moveTo>
                    <a:pt x="131" y="336"/>
                  </a:moveTo>
                  <a:lnTo>
                    <a:pt x="131" y="336"/>
                  </a:lnTo>
                  <a:lnTo>
                    <a:pt x="141" y="336"/>
                  </a:lnTo>
                  <a:lnTo>
                    <a:pt x="150" y="334"/>
                  </a:lnTo>
                  <a:lnTo>
                    <a:pt x="160" y="332"/>
                  </a:lnTo>
                  <a:lnTo>
                    <a:pt x="168" y="328"/>
                  </a:lnTo>
                  <a:lnTo>
                    <a:pt x="182" y="318"/>
                  </a:lnTo>
                  <a:lnTo>
                    <a:pt x="193" y="304"/>
                  </a:lnTo>
                  <a:lnTo>
                    <a:pt x="201" y="289"/>
                  </a:lnTo>
                  <a:lnTo>
                    <a:pt x="207" y="273"/>
                  </a:lnTo>
                  <a:lnTo>
                    <a:pt x="211" y="254"/>
                  </a:lnTo>
                  <a:lnTo>
                    <a:pt x="213" y="236"/>
                  </a:lnTo>
                  <a:lnTo>
                    <a:pt x="213" y="236"/>
                  </a:lnTo>
                  <a:lnTo>
                    <a:pt x="211" y="217"/>
                  </a:lnTo>
                  <a:lnTo>
                    <a:pt x="207" y="197"/>
                  </a:lnTo>
                  <a:lnTo>
                    <a:pt x="201" y="179"/>
                  </a:lnTo>
                  <a:lnTo>
                    <a:pt x="193" y="166"/>
                  </a:lnTo>
                  <a:lnTo>
                    <a:pt x="182" y="152"/>
                  </a:lnTo>
                  <a:lnTo>
                    <a:pt x="166" y="142"/>
                  </a:lnTo>
                  <a:lnTo>
                    <a:pt x="158" y="138"/>
                  </a:lnTo>
                  <a:lnTo>
                    <a:pt x="148" y="136"/>
                  </a:lnTo>
                  <a:lnTo>
                    <a:pt x="139" y="134"/>
                  </a:lnTo>
                  <a:lnTo>
                    <a:pt x="127" y="134"/>
                  </a:lnTo>
                  <a:lnTo>
                    <a:pt x="127" y="134"/>
                  </a:lnTo>
                  <a:lnTo>
                    <a:pt x="117" y="134"/>
                  </a:lnTo>
                  <a:lnTo>
                    <a:pt x="107" y="136"/>
                  </a:lnTo>
                  <a:lnTo>
                    <a:pt x="98" y="138"/>
                  </a:lnTo>
                  <a:lnTo>
                    <a:pt x="90" y="142"/>
                  </a:lnTo>
                  <a:lnTo>
                    <a:pt x="76" y="152"/>
                  </a:lnTo>
                  <a:lnTo>
                    <a:pt x="65" y="166"/>
                  </a:lnTo>
                  <a:lnTo>
                    <a:pt x="57" y="181"/>
                  </a:lnTo>
                  <a:lnTo>
                    <a:pt x="51" y="199"/>
                  </a:lnTo>
                  <a:lnTo>
                    <a:pt x="49" y="218"/>
                  </a:lnTo>
                  <a:lnTo>
                    <a:pt x="47" y="238"/>
                  </a:lnTo>
                  <a:lnTo>
                    <a:pt x="47" y="238"/>
                  </a:lnTo>
                  <a:lnTo>
                    <a:pt x="49" y="256"/>
                  </a:lnTo>
                  <a:lnTo>
                    <a:pt x="53" y="275"/>
                  </a:lnTo>
                  <a:lnTo>
                    <a:pt x="59" y="291"/>
                  </a:lnTo>
                  <a:lnTo>
                    <a:pt x="68" y="306"/>
                  </a:lnTo>
                  <a:lnTo>
                    <a:pt x="80" y="318"/>
                  </a:lnTo>
                  <a:lnTo>
                    <a:pt x="94" y="328"/>
                  </a:lnTo>
                  <a:lnTo>
                    <a:pt x="111" y="334"/>
                  </a:lnTo>
                  <a:lnTo>
                    <a:pt x="131" y="336"/>
                  </a:lnTo>
                  <a:lnTo>
                    <a:pt x="131" y="336"/>
                  </a:lnTo>
                  <a:close/>
                </a:path>
              </a:pathLst>
            </a:custGeom>
            <a:solidFill>
              <a:srgbClr val="C6C6C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50"/>
            <p:cNvSpPr>
              <a:spLocks/>
            </p:cNvSpPr>
            <p:nvPr/>
          </p:nvSpPr>
          <p:spPr bwMode="auto">
            <a:xfrm>
              <a:off x="477" y="3701"/>
              <a:ext cx="188" cy="136"/>
            </a:xfrm>
            <a:custGeom>
              <a:avLst/>
              <a:gdLst/>
              <a:ahLst/>
              <a:cxnLst>
                <a:cxn ang="0">
                  <a:pos x="43" y="6"/>
                </a:cxn>
                <a:cxn ang="0">
                  <a:pos x="43" y="45"/>
                </a:cxn>
                <a:cxn ang="0">
                  <a:pos x="51" y="36"/>
                </a:cxn>
                <a:cxn ang="0">
                  <a:pos x="70" y="18"/>
                </a:cxn>
                <a:cxn ang="0">
                  <a:pos x="92" y="6"/>
                </a:cxn>
                <a:cxn ang="0">
                  <a:pos x="115" y="0"/>
                </a:cxn>
                <a:cxn ang="0">
                  <a:pos x="129" y="0"/>
                </a:cxn>
                <a:cxn ang="0">
                  <a:pos x="154" y="2"/>
                </a:cxn>
                <a:cxn ang="0">
                  <a:pos x="174" y="10"/>
                </a:cxn>
                <a:cxn ang="0">
                  <a:pos x="191" y="24"/>
                </a:cxn>
                <a:cxn ang="0">
                  <a:pos x="203" y="45"/>
                </a:cxn>
                <a:cxn ang="0">
                  <a:pos x="211" y="36"/>
                </a:cxn>
                <a:cxn ang="0">
                  <a:pos x="229" y="18"/>
                </a:cxn>
                <a:cxn ang="0">
                  <a:pos x="250" y="6"/>
                </a:cxn>
                <a:cxn ang="0">
                  <a:pos x="275" y="0"/>
                </a:cxn>
                <a:cxn ang="0">
                  <a:pos x="287" y="0"/>
                </a:cxn>
                <a:cxn ang="0">
                  <a:pos x="324" y="4"/>
                </a:cxn>
                <a:cxn ang="0">
                  <a:pos x="352" y="18"/>
                </a:cxn>
                <a:cxn ang="0">
                  <a:pos x="369" y="41"/>
                </a:cxn>
                <a:cxn ang="0">
                  <a:pos x="377" y="79"/>
                </a:cxn>
                <a:cxn ang="0">
                  <a:pos x="332" y="274"/>
                </a:cxn>
                <a:cxn ang="0">
                  <a:pos x="332" y="98"/>
                </a:cxn>
                <a:cxn ang="0">
                  <a:pos x="330" y="75"/>
                </a:cxn>
                <a:cxn ang="0">
                  <a:pos x="322" y="57"/>
                </a:cxn>
                <a:cxn ang="0">
                  <a:pos x="307" y="43"/>
                </a:cxn>
                <a:cxn ang="0">
                  <a:pos x="281" y="39"/>
                </a:cxn>
                <a:cxn ang="0">
                  <a:pos x="266" y="39"/>
                </a:cxn>
                <a:cxn ang="0">
                  <a:pos x="240" y="49"/>
                </a:cxn>
                <a:cxn ang="0">
                  <a:pos x="221" y="67"/>
                </a:cxn>
                <a:cxn ang="0">
                  <a:pos x="211" y="92"/>
                </a:cxn>
                <a:cxn ang="0">
                  <a:pos x="211" y="274"/>
                </a:cxn>
                <a:cxn ang="0">
                  <a:pos x="166" y="98"/>
                </a:cxn>
                <a:cxn ang="0">
                  <a:pos x="166" y="86"/>
                </a:cxn>
                <a:cxn ang="0">
                  <a:pos x="160" y="65"/>
                </a:cxn>
                <a:cxn ang="0">
                  <a:pos x="149" y="49"/>
                </a:cxn>
                <a:cxn ang="0">
                  <a:pos x="129" y="39"/>
                </a:cxn>
                <a:cxn ang="0">
                  <a:pos x="115" y="39"/>
                </a:cxn>
                <a:cxn ang="0">
                  <a:pos x="82" y="47"/>
                </a:cxn>
                <a:cxn ang="0">
                  <a:pos x="61" y="65"/>
                </a:cxn>
                <a:cxn ang="0">
                  <a:pos x="49" y="88"/>
                </a:cxn>
                <a:cxn ang="0">
                  <a:pos x="45" y="108"/>
                </a:cxn>
                <a:cxn ang="0">
                  <a:pos x="0" y="274"/>
                </a:cxn>
              </a:cxnLst>
              <a:rect l="0" t="0" r="r" b="b"/>
              <a:pathLst>
                <a:path w="377" h="274">
                  <a:moveTo>
                    <a:pt x="0" y="6"/>
                  </a:moveTo>
                  <a:lnTo>
                    <a:pt x="43" y="6"/>
                  </a:lnTo>
                  <a:lnTo>
                    <a:pt x="43" y="45"/>
                  </a:lnTo>
                  <a:lnTo>
                    <a:pt x="43" y="45"/>
                  </a:lnTo>
                  <a:lnTo>
                    <a:pt x="43" y="45"/>
                  </a:lnTo>
                  <a:lnTo>
                    <a:pt x="51" y="36"/>
                  </a:lnTo>
                  <a:lnTo>
                    <a:pt x="61" y="26"/>
                  </a:lnTo>
                  <a:lnTo>
                    <a:pt x="70" y="18"/>
                  </a:lnTo>
                  <a:lnTo>
                    <a:pt x="80" y="12"/>
                  </a:lnTo>
                  <a:lnTo>
                    <a:pt x="92" y="6"/>
                  </a:lnTo>
                  <a:lnTo>
                    <a:pt x="104" y="2"/>
                  </a:lnTo>
                  <a:lnTo>
                    <a:pt x="115" y="0"/>
                  </a:lnTo>
                  <a:lnTo>
                    <a:pt x="129" y="0"/>
                  </a:lnTo>
                  <a:lnTo>
                    <a:pt x="129" y="0"/>
                  </a:lnTo>
                  <a:lnTo>
                    <a:pt x="143" y="0"/>
                  </a:lnTo>
                  <a:lnTo>
                    <a:pt x="154" y="2"/>
                  </a:lnTo>
                  <a:lnTo>
                    <a:pt x="164" y="6"/>
                  </a:lnTo>
                  <a:lnTo>
                    <a:pt x="174" y="10"/>
                  </a:lnTo>
                  <a:lnTo>
                    <a:pt x="184" y="16"/>
                  </a:lnTo>
                  <a:lnTo>
                    <a:pt x="191" y="24"/>
                  </a:lnTo>
                  <a:lnTo>
                    <a:pt x="199" y="34"/>
                  </a:lnTo>
                  <a:lnTo>
                    <a:pt x="203" y="45"/>
                  </a:lnTo>
                  <a:lnTo>
                    <a:pt x="203" y="45"/>
                  </a:lnTo>
                  <a:lnTo>
                    <a:pt x="211" y="36"/>
                  </a:lnTo>
                  <a:lnTo>
                    <a:pt x="219" y="26"/>
                  </a:lnTo>
                  <a:lnTo>
                    <a:pt x="229" y="18"/>
                  </a:lnTo>
                  <a:lnTo>
                    <a:pt x="238" y="12"/>
                  </a:lnTo>
                  <a:lnTo>
                    <a:pt x="250" y="6"/>
                  </a:lnTo>
                  <a:lnTo>
                    <a:pt x="262" y="2"/>
                  </a:lnTo>
                  <a:lnTo>
                    <a:pt x="275" y="0"/>
                  </a:lnTo>
                  <a:lnTo>
                    <a:pt x="287" y="0"/>
                  </a:lnTo>
                  <a:lnTo>
                    <a:pt x="287" y="0"/>
                  </a:lnTo>
                  <a:lnTo>
                    <a:pt x="307" y="0"/>
                  </a:lnTo>
                  <a:lnTo>
                    <a:pt x="324" y="4"/>
                  </a:lnTo>
                  <a:lnTo>
                    <a:pt x="338" y="10"/>
                  </a:lnTo>
                  <a:lnTo>
                    <a:pt x="352" y="18"/>
                  </a:lnTo>
                  <a:lnTo>
                    <a:pt x="361" y="30"/>
                  </a:lnTo>
                  <a:lnTo>
                    <a:pt x="369" y="41"/>
                  </a:lnTo>
                  <a:lnTo>
                    <a:pt x="375" y="59"/>
                  </a:lnTo>
                  <a:lnTo>
                    <a:pt x="377" y="79"/>
                  </a:lnTo>
                  <a:lnTo>
                    <a:pt x="377" y="274"/>
                  </a:lnTo>
                  <a:lnTo>
                    <a:pt x="332" y="274"/>
                  </a:lnTo>
                  <a:lnTo>
                    <a:pt x="332" y="98"/>
                  </a:lnTo>
                  <a:lnTo>
                    <a:pt x="332" y="98"/>
                  </a:lnTo>
                  <a:lnTo>
                    <a:pt x="332" y="86"/>
                  </a:lnTo>
                  <a:lnTo>
                    <a:pt x="330" y="75"/>
                  </a:lnTo>
                  <a:lnTo>
                    <a:pt x="328" y="65"/>
                  </a:lnTo>
                  <a:lnTo>
                    <a:pt x="322" y="57"/>
                  </a:lnTo>
                  <a:lnTo>
                    <a:pt x="316" y="49"/>
                  </a:lnTo>
                  <a:lnTo>
                    <a:pt x="307" y="43"/>
                  </a:lnTo>
                  <a:lnTo>
                    <a:pt x="295" y="39"/>
                  </a:lnTo>
                  <a:lnTo>
                    <a:pt x="281" y="39"/>
                  </a:lnTo>
                  <a:lnTo>
                    <a:pt x="281" y="39"/>
                  </a:lnTo>
                  <a:lnTo>
                    <a:pt x="266" y="39"/>
                  </a:lnTo>
                  <a:lnTo>
                    <a:pt x="252" y="43"/>
                  </a:lnTo>
                  <a:lnTo>
                    <a:pt x="240" y="49"/>
                  </a:lnTo>
                  <a:lnTo>
                    <a:pt x="231" y="57"/>
                  </a:lnTo>
                  <a:lnTo>
                    <a:pt x="221" y="67"/>
                  </a:lnTo>
                  <a:lnTo>
                    <a:pt x="215" y="79"/>
                  </a:lnTo>
                  <a:lnTo>
                    <a:pt x="211" y="92"/>
                  </a:lnTo>
                  <a:lnTo>
                    <a:pt x="211" y="108"/>
                  </a:lnTo>
                  <a:lnTo>
                    <a:pt x="211" y="274"/>
                  </a:lnTo>
                  <a:lnTo>
                    <a:pt x="166" y="274"/>
                  </a:lnTo>
                  <a:lnTo>
                    <a:pt x="166" y="98"/>
                  </a:lnTo>
                  <a:lnTo>
                    <a:pt x="166" y="98"/>
                  </a:lnTo>
                  <a:lnTo>
                    <a:pt x="166" y="86"/>
                  </a:lnTo>
                  <a:lnTo>
                    <a:pt x="164" y="75"/>
                  </a:lnTo>
                  <a:lnTo>
                    <a:pt x="160" y="65"/>
                  </a:lnTo>
                  <a:lnTo>
                    <a:pt x="156" y="55"/>
                  </a:lnTo>
                  <a:lnTo>
                    <a:pt x="149" y="49"/>
                  </a:lnTo>
                  <a:lnTo>
                    <a:pt x="141" y="43"/>
                  </a:lnTo>
                  <a:lnTo>
                    <a:pt x="129" y="39"/>
                  </a:lnTo>
                  <a:lnTo>
                    <a:pt x="115" y="39"/>
                  </a:lnTo>
                  <a:lnTo>
                    <a:pt x="115" y="39"/>
                  </a:lnTo>
                  <a:lnTo>
                    <a:pt x="98" y="41"/>
                  </a:lnTo>
                  <a:lnTo>
                    <a:pt x="82" y="47"/>
                  </a:lnTo>
                  <a:lnTo>
                    <a:pt x="70" y="55"/>
                  </a:lnTo>
                  <a:lnTo>
                    <a:pt x="61" y="65"/>
                  </a:lnTo>
                  <a:lnTo>
                    <a:pt x="53" y="77"/>
                  </a:lnTo>
                  <a:lnTo>
                    <a:pt x="49" y="88"/>
                  </a:lnTo>
                  <a:lnTo>
                    <a:pt x="45" y="98"/>
                  </a:lnTo>
                  <a:lnTo>
                    <a:pt x="45" y="108"/>
                  </a:lnTo>
                  <a:lnTo>
                    <a:pt x="45" y="274"/>
                  </a:lnTo>
                  <a:lnTo>
                    <a:pt x="0" y="274"/>
                  </a:lnTo>
                  <a:lnTo>
                    <a:pt x="0" y="6"/>
                  </a:lnTo>
                  <a:close/>
                </a:path>
              </a:pathLst>
            </a:custGeom>
            <a:solidFill>
              <a:srgbClr val="C6C6C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_co-branded">
    <p:spTree>
      <p:nvGrpSpPr>
        <p:cNvPr id="1" name=""/>
        <p:cNvGrpSpPr/>
        <p:nvPr/>
      </p:nvGrpSpPr>
      <p:grpSpPr>
        <a:xfrm>
          <a:off x="0" y="0"/>
          <a:ext cx="0" cy="0"/>
          <a:chOff x="0" y="0"/>
          <a:chExt cx="0" cy="0"/>
        </a:xfrm>
      </p:grpSpPr>
      <p:pic>
        <p:nvPicPr>
          <p:cNvPr id="14" name="Picture 13" descr="ADM-VI.jpg"/>
          <p:cNvPicPr>
            <a:picLocks noChangeAspect="1"/>
          </p:cNvPicPr>
          <p:nvPr userDrawn="1"/>
        </p:nvPicPr>
        <p:blipFill>
          <a:blip r:embed="rId5" cstate="print"/>
          <a:srcRect l="17740" b="4430"/>
          <a:stretch>
            <a:fillRect/>
          </a:stretch>
        </p:blipFill>
        <p:spPr>
          <a:xfrm>
            <a:off x="0" y="1083733"/>
            <a:ext cx="9906000" cy="5317067"/>
          </a:xfrm>
          <a:prstGeom prst="rect">
            <a:avLst/>
          </a:prstGeom>
        </p:spPr>
      </p:pic>
      <p:sp>
        <p:nvSpPr>
          <p:cNvPr id="15" name="Freeform 19"/>
          <p:cNvSpPr>
            <a:spLocks/>
          </p:cNvSpPr>
          <p:nvPr userDrawn="1"/>
        </p:nvSpPr>
        <p:spPr bwMode="auto">
          <a:xfrm>
            <a:off x="-89" y="-68"/>
            <a:ext cx="9906089" cy="2323475"/>
          </a:xfrm>
          <a:custGeom>
            <a:avLst/>
            <a:gdLst>
              <a:gd name="connsiteX0" fmla="*/ 219 w 10000"/>
              <a:gd name="connsiteY0" fmla="*/ 1089 h 10000"/>
              <a:gd name="connsiteX1" fmla="*/ 0 w 10000"/>
              <a:gd name="connsiteY1" fmla="*/ 6808 h 10000"/>
              <a:gd name="connsiteX2" fmla="*/ 0 w 10000"/>
              <a:gd name="connsiteY2" fmla="*/ 6808 h 10000"/>
              <a:gd name="connsiteX3" fmla="*/ 39 w 10000"/>
              <a:gd name="connsiteY3" fmla="*/ 6834 h 10000"/>
              <a:gd name="connsiteX4" fmla="*/ 80 w 10000"/>
              <a:gd name="connsiteY4" fmla="*/ 6860 h 10000"/>
              <a:gd name="connsiteX5" fmla="*/ 136 w 10000"/>
              <a:gd name="connsiteY5" fmla="*/ 6898 h 10000"/>
              <a:gd name="connsiteX6" fmla="*/ 205 w 10000"/>
              <a:gd name="connsiteY6" fmla="*/ 6963 h 10000"/>
              <a:gd name="connsiteX7" fmla="*/ 282 w 10000"/>
              <a:gd name="connsiteY7" fmla="*/ 7053 h 10000"/>
              <a:gd name="connsiteX8" fmla="*/ 368 w 10000"/>
              <a:gd name="connsiteY8" fmla="*/ 7169 h 10000"/>
              <a:gd name="connsiteX9" fmla="*/ 457 w 10000"/>
              <a:gd name="connsiteY9" fmla="*/ 7310 h 10000"/>
              <a:gd name="connsiteX10" fmla="*/ 552 w 10000"/>
              <a:gd name="connsiteY10" fmla="*/ 7490 h 10000"/>
              <a:gd name="connsiteX11" fmla="*/ 596 w 10000"/>
              <a:gd name="connsiteY11" fmla="*/ 7593 h 10000"/>
              <a:gd name="connsiteX12" fmla="*/ 644 w 10000"/>
              <a:gd name="connsiteY12" fmla="*/ 7709 h 10000"/>
              <a:gd name="connsiteX13" fmla="*/ 691 w 10000"/>
              <a:gd name="connsiteY13" fmla="*/ 7838 h 10000"/>
              <a:gd name="connsiteX14" fmla="*/ 736 w 10000"/>
              <a:gd name="connsiteY14" fmla="*/ 7967 h 10000"/>
              <a:gd name="connsiteX15" fmla="*/ 780 w 10000"/>
              <a:gd name="connsiteY15" fmla="*/ 8121 h 10000"/>
              <a:gd name="connsiteX16" fmla="*/ 825 w 10000"/>
              <a:gd name="connsiteY16" fmla="*/ 8275 h 10000"/>
              <a:gd name="connsiteX17" fmla="*/ 866 w 10000"/>
              <a:gd name="connsiteY17" fmla="*/ 8443 h 10000"/>
              <a:gd name="connsiteX18" fmla="*/ 908 w 10000"/>
              <a:gd name="connsiteY18" fmla="*/ 8623 h 10000"/>
              <a:gd name="connsiteX19" fmla="*/ 947 w 10000"/>
              <a:gd name="connsiteY19" fmla="*/ 8816 h 10000"/>
              <a:gd name="connsiteX20" fmla="*/ 982 w 10000"/>
              <a:gd name="connsiteY20" fmla="*/ 9022 h 10000"/>
              <a:gd name="connsiteX21" fmla="*/ 1015 w 10000"/>
              <a:gd name="connsiteY21" fmla="*/ 9254 h 10000"/>
              <a:gd name="connsiteX22" fmla="*/ 1047 w 10000"/>
              <a:gd name="connsiteY22" fmla="*/ 9485 h 10000"/>
              <a:gd name="connsiteX23" fmla="*/ 1074 w 10000"/>
              <a:gd name="connsiteY23" fmla="*/ 9743 h 10000"/>
              <a:gd name="connsiteX24" fmla="*/ 1101 w 10000"/>
              <a:gd name="connsiteY24" fmla="*/ 10000 h 10000"/>
              <a:gd name="connsiteX25" fmla="*/ 1101 w 10000"/>
              <a:gd name="connsiteY25" fmla="*/ 10000 h 10000"/>
              <a:gd name="connsiteX26" fmla="*/ 1113 w 10000"/>
              <a:gd name="connsiteY26" fmla="*/ 9884 h 10000"/>
              <a:gd name="connsiteX27" fmla="*/ 1131 w 10000"/>
              <a:gd name="connsiteY27" fmla="*/ 9743 h 10000"/>
              <a:gd name="connsiteX28" fmla="*/ 1157 w 10000"/>
              <a:gd name="connsiteY28" fmla="*/ 9562 h 10000"/>
              <a:gd name="connsiteX29" fmla="*/ 1190 w 10000"/>
              <a:gd name="connsiteY29" fmla="*/ 9344 h 10000"/>
              <a:gd name="connsiteX30" fmla="*/ 1231 w 10000"/>
              <a:gd name="connsiteY30" fmla="*/ 9112 h 10000"/>
              <a:gd name="connsiteX31" fmla="*/ 1282 w 10000"/>
              <a:gd name="connsiteY31" fmla="*/ 8842 h 10000"/>
              <a:gd name="connsiteX32" fmla="*/ 1338 w 10000"/>
              <a:gd name="connsiteY32" fmla="*/ 8571 h 10000"/>
              <a:gd name="connsiteX33" fmla="*/ 1404 w 10000"/>
              <a:gd name="connsiteY33" fmla="*/ 8301 h 10000"/>
              <a:gd name="connsiteX34" fmla="*/ 1442 w 10000"/>
              <a:gd name="connsiteY34" fmla="*/ 8160 h 10000"/>
              <a:gd name="connsiteX35" fmla="*/ 1481 w 10000"/>
              <a:gd name="connsiteY35" fmla="*/ 8031 h 10000"/>
              <a:gd name="connsiteX36" fmla="*/ 1519 w 10000"/>
              <a:gd name="connsiteY36" fmla="*/ 7902 h 10000"/>
              <a:gd name="connsiteX37" fmla="*/ 1564 w 10000"/>
              <a:gd name="connsiteY37" fmla="*/ 7773 h 10000"/>
              <a:gd name="connsiteX38" fmla="*/ 1608 w 10000"/>
              <a:gd name="connsiteY38" fmla="*/ 7645 h 10000"/>
              <a:gd name="connsiteX39" fmla="*/ 1659 w 10000"/>
              <a:gd name="connsiteY39" fmla="*/ 7529 h 10000"/>
              <a:gd name="connsiteX40" fmla="*/ 1706 w 10000"/>
              <a:gd name="connsiteY40" fmla="*/ 7413 h 10000"/>
              <a:gd name="connsiteX41" fmla="*/ 1760 w 10000"/>
              <a:gd name="connsiteY41" fmla="*/ 7310 h 10000"/>
              <a:gd name="connsiteX42" fmla="*/ 1816 w 10000"/>
              <a:gd name="connsiteY42" fmla="*/ 7220 h 10000"/>
              <a:gd name="connsiteX43" fmla="*/ 1872 w 10000"/>
              <a:gd name="connsiteY43" fmla="*/ 7130 h 10000"/>
              <a:gd name="connsiteX44" fmla="*/ 1932 w 10000"/>
              <a:gd name="connsiteY44" fmla="*/ 7066 h 10000"/>
              <a:gd name="connsiteX45" fmla="*/ 1997 w 10000"/>
              <a:gd name="connsiteY45" fmla="*/ 7001 h 10000"/>
              <a:gd name="connsiteX46" fmla="*/ 2062 w 10000"/>
              <a:gd name="connsiteY46" fmla="*/ 6950 h 10000"/>
              <a:gd name="connsiteX47" fmla="*/ 2128 w 10000"/>
              <a:gd name="connsiteY47" fmla="*/ 6911 h 10000"/>
              <a:gd name="connsiteX48" fmla="*/ 9012 w 10000"/>
              <a:gd name="connsiteY48" fmla="*/ 6911 h 10000"/>
              <a:gd name="connsiteX49" fmla="*/ 9012 w 10000"/>
              <a:gd name="connsiteY49" fmla="*/ 6911 h 10000"/>
              <a:gd name="connsiteX50" fmla="*/ 9039 w 10000"/>
              <a:gd name="connsiteY50" fmla="*/ 6911 h 10000"/>
              <a:gd name="connsiteX51" fmla="*/ 9071 w 10000"/>
              <a:gd name="connsiteY51" fmla="*/ 6911 h 10000"/>
              <a:gd name="connsiteX52" fmla="*/ 9110 w 10000"/>
              <a:gd name="connsiteY52" fmla="*/ 6898 h 10000"/>
              <a:gd name="connsiteX53" fmla="*/ 9163 w 10000"/>
              <a:gd name="connsiteY53" fmla="*/ 6873 h 10000"/>
              <a:gd name="connsiteX54" fmla="*/ 9220 w 10000"/>
              <a:gd name="connsiteY54" fmla="*/ 6821 h 10000"/>
              <a:gd name="connsiteX55" fmla="*/ 9285 w 10000"/>
              <a:gd name="connsiteY55" fmla="*/ 6757 h 10000"/>
              <a:gd name="connsiteX56" fmla="*/ 9356 w 10000"/>
              <a:gd name="connsiteY56" fmla="*/ 6654 h 10000"/>
              <a:gd name="connsiteX57" fmla="*/ 9433 w 10000"/>
              <a:gd name="connsiteY57" fmla="*/ 6512 h 10000"/>
              <a:gd name="connsiteX58" fmla="*/ 9472 w 10000"/>
              <a:gd name="connsiteY58" fmla="*/ 6422 h 10000"/>
              <a:gd name="connsiteX59" fmla="*/ 9510 w 10000"/>
              <a:gd name="connsiteY59" fmla="*/ 6332 h 10000"/>
              <a:gd name="connsiteX60" fmla="*/ 9552 w 10000"/>
              <a:gd name="connsiteY60" fmla="*/ 6229 h 10000"/>
              <a:gd name="connsiteX61" fmla="*/ 9593 w 10000"/>
              <a:gd name="connsiteY61" fmla="*/ 6113 h 10000"/>
              <a:gd name="connsiteX62" fmla="*/ 9635 w 10000"/>
              <a:gd name="connsiteY62" fmla="*/ 5985 h 10000"/>
              <a:gd name="connsiteX63" fmla="*/ 9677 w 10000"/>
              <a:gd name="connsiteY63" fmla="*/ 5843 h 10000"/>
              <a:gd name="connsiteX64" fmla="*/ 9718 w 10000"/>
              <a:gd name="connsiteY64" fmla="*/ 5689 h 10000"/>
              <a:gd name="connsiteX65" fmla="*/ 9757 w 10000"/>
              <a:gd name="connsiteY65" fmla="*/ 5521 h 10000"/>
              <a:gd name="connsiteX66" fmla="*/ 9798 w 10000"/>
              <a:gd name="connsiteY66" fmla="*/ 5328 h 10000"/>
              <a:gd name="connsiteX67" fmla="*/ 9840 w 10000"/>
              <a:gd name="connsiteY67" fmla="*/ 5135 h 10000"/>
              <a:gd name="connsiteX68" fmla="*/ 9878 w 10000"/>
              <a:gd name="connsiteY68" fmla="*/ 4916 h 10000"/>
              <a:gd name="connsiteX69" fmla="*/ 9917 w 10000"/>
              <a:gd name="connsiteY69" fmla="*/ 4685 h 10000"/>
              <a:gd name="connsiteX70" fmla="*/ 9955 w 10000"/>
              <a:gd name="connsiteY70" fmla="*/ 4440 h 10000"/>
              <a:gd name="connsiteX71" fmla="*/ 9994 w 10000"/>
              <a:gd name="connsiteY71" fmla="*/ 4170 h 10000"/>
              <a:gd name="connsiteX72" fmla="*/ 10000 w 10000"/>
              <a:gd name="connsiteY72" fmla="*/ 0 h 10000"/>
              <a:gd name="connsiteX73" fmla="*/ 219 w 10000"/>
              <a:gd name="connsiteY73" fmla="*/ 1089 h 10000"/>
              <a:gd name="connsiteX0" fmla="*/ 0 w 10003"/>
              <a:gd name="connsiteY0" fmla="*/ 316 h 10000"/>
              <a:gd name="connsiteX1" fmla="*/ 3 w 10003"/>
              <a:gd name="connsiteY1" fmla="*/ 6808 h 10000"/>
              <a:gd name="connsiteX2" fmla="*/ 3 w 10003"/>
              <a:gd name="connsiteY2" fmla="*/ 6808 h 10000"/>
              <a:gd name="connsiteX3" fmla="*/ 42 w 10003"/>
              <a:gd name="connsiteY3" fmla="*/ 6834 h 10000"/>
              <a:gd name="connsiteX4" fmla="*/ 83 w 10003"/>
              <a:gd name="connsiteY4" fmla="*/ 6860 h 10000"/>
              <a:gd name="connsiteX5" fmla="*/ 139 w 10003"/>
              <a:gd name="connsiteY5" fmla="*/ 6898 h 10000"/>
              <a:gd name="connsiteX6" fmla="*/ 208 w 10003"/>
              <a:gd name="connsiteY6" fmla="*/ 6963 h 10000"/>
              <a:gd name="connsiteX7" fmla="*/ 285 w 10003"/>
              <a:gd name="connsiteY7" fmla="*/ 7053 h 10000"/>
              <a:gd name="connsiteX8" fmla="*/ 371 w 10003"/>
              <a:gd name="connsiteY8" fmla="*/ 7169 h 10000"/>
              <a:gd name="connsiteX9" fmla="*/ 460 w 10003"/>
              <a:gd name="connsiteY9" fmla="*/ 7310 h 10000"/>
              <a:gd name="connsiteX10" fmla="*/ 555 w 10003"/>
              <a:gd name="connsiteY10" fmla="*/ 7490 h 10000"/>
              <a:gd name="connsiteX11" fmla="*/ 599 w 10003"/>
              <a:gd name="connsiteY11" fmla="*/ 7593 h 10000"/>
              <a:gd name="connsiteX12" fmla="*/ 647 w 10003"/>
              <a:gd name="connsiteY12" fmla="*/ 7709 h 10000"/>
              <a:gd name="connsiteX13" fmla="*/ 694 w 10003"/>
              <a:gd name="connsiteY13" fmla="*/ 7838 h 10000"/>
              <a:gd name="connsiteX14" fmla="*/ 739 w 10003"/>
              <a:gd name="connsiteY14" fmla="*/ 7967 h 10000"/>
              <a:gd name="connsiteX15" fmla="*/ 783 w 10003"/>
              <a:gd name="connsiteY15" fmla="*/ 8121 h 10000"/>
              <a:gd name="connsiteX16" fmla="*/ 828 w 10003"/>
              <a:gd name="connsiteY16" fmla="*/ 8275 h 10000"/>
              <a:gd name="connsiteX17" fmla="*/ 869 w 10003"/>
              <a:gd name="connsiteY17" fmla="*/ 8443 h 10000"/>
              <a:gd name="connsiteX18" fmla="*/ 911 w 10003"/>
              <a:gd name="connsiteY18" fmla="*/ 8623 h 10000"/>
              <a:gd name="connsiteX19" fmla="*/ 950 w 10003"/>
              <a:gd name="connsiteY19" fmla="*/ 8816 h 10000"/>
              <a:gd name="connsiteX20" fmla="*/ 985 w 10003"/>
              <a:gd name="connsiteY20" fmla="*/ 9022 h 10000"/>
              <a:gd name="connsiteX21" fmla="*/ 1018 w 10003"/>
              <a:gd name="connsiteY21" fmla="*/ 9254 h 10000"/>
              <a:gd name="connsiteX22" fmla="*/ 1050 w 10003"/>
              <a:gd name="connsiteY22" fmla="*/ 9485 h 10000"/>
              <a:gd name="connsiteX23" fmla="*/ 1077 w 10003"/>
              <a:gd name="connsiteY23" fmla="*/ 9743 h 10000"/>
              <a:gd name="connsiteX24" fmla="*/ 1104 w 10003"/>
              <a:gd name="connsiteY24" fmla="*/ 10000 h 10000"/>
              <a:gd name="connsiteX25" fmla="*/ 1104 w 10003"/>
              <a:gd name="connsiteY25" fmla="*/ 10000 h 10000"/>
              <a:gd name="connsiteX26" fmla="*/ 1116 w 10003"/>
              <a:gd name="connsiteY26" fmla="*/ 9884 h 10000"/>
              <a:gd name="connsiteX27" fmla="*/ 1134 w 10003"/>
              <a:gd name="connsiteY27" fmla="*/ 9743 h 10000"/>
              <a:gd name="connsiteX28" fmla="*/ 1160 w 10003"/>
              <a:gd name="connsiteY28" fmla="*/ 9562 h 10000"/>
              <a:gd name="connsiteX29" fmla="*/ 1193 w 10003"/>
              <a:gd name="connsiteY29" fmla="*/ 9344 h 10000"/>
              <a:gd name="connsiteX30" fmla="*/ 1234 w 10003"/>
              <a:gd name="connsiteY30" fmla="*/ 9112 h 10000"/>
              <a:gd name="connsiteX31" fmla="*/ 1285 w 10003"/>
              <a:gd name="connsiteY31" fmla="*/ 8842 h 10000"/>
              <a:gd name="connsiteX32" fmla="*/ 1341 w 10003"/>
              <a:gd name="connsiteY32" fmla="*/ 8571 h 10000"/>
              <a:gd name="connsiteX33" fmla="*/ 1407 w 10003"/>
              <a:gd name="connsiteY33" fmla="*/ 8301 h 10000"/>
              <a:gd name="connsiteX34" fmla="*/ 1445 w 10003"/>
              <a:gd name="connsiteY34" fmla="*/ 8160 h 10000"/>
              <a:gd name="connsiteX35" fmla="*/ 1484 w 10003"/>
              <a:gd name="connsiteY35" fmla="*/ 8031 h 10000"/>
              <a:gd name="connsiteX36" fmla="*/ 1522 w 10003"/>
              <a:gd name="connsiteY36" fmla="*/ 7902 h 10000"/>
              <a:gd name="connsiteX37" fmla="*/ 1567 w 10003"/>
              <a:gd name="connsiteY37" fmla="*/ 7773 h 10000"/>
              <a:gd name="connsiteX38" fmla="*/ 1611 w 10003"/>
              <a:gd name="connsiteY38" fmla="*/ 7645 h 10000"/>
              <a:gd name="connsiteX39" fmla="*/ 1662 w 10003"/>
              <a:gd name="connsiteY39" fmla="*/ 7529 h 10000"/>
              <a:gd name="connsiteX40" fmla="*/ 1709 w 10003"/>
              <a:gd name="connsiteY40" fmla="*/ 7413 h 10000"/>
              <a:gd name="connsiteX41" fmla="*/ 1763 w 10003"/>
              <a:gd name="connsiteY41" fmla="*/ 7310 h 10000"/>
              <a:gd name="connsiteX42" fmla="*/ 1819 w 10003"/>
              <a:gd name="connsiteY42" fmla="*/ 7220 h 10000"/>
              <a:gd name="connsiteX43" fmla="*/ 1875 w 10003"/>
              <a:gd name="connsiteY43" fmla="*/ 7130 h 10000"/>
              <a:gd name="connsiteX44" fmla="*/ 1935 w 10003"/>
              <a:gd name="connsiteY44" fmla="*/ 7066 h 10000"/>
              <a:gd name="connsiteX45" fmla="*/ 2000 w 10003"/>
              <a:gd name="connsiteY45" fmla="*/ 7001 h 10000"/>
              <a:gd name="connsiteX46" fmla="*/ 2065 w 10003"/>
              <a:gd name="connsiteY46" fmla="*/ 6950 h 10000"/>
              <a:gd name="connsiteX47" fmla="*/ 2131 w 10003"/>
              <a:gd name="connsiteY47" fmla="*/ 6911 h 10000"/>
              <a:gd name="connsiteX48" fmla="*/ 9015 w 10003"/>
              <a:gd name="connsiteY48" fmla="*/ 6911 h 10000"/>
              <a:gd name="connsiteX49" fmla="*/ 9015 w 10003"/>
              <a:gd name="connsiteY49" fmla="*/ 6911 h 10000"/>
              <a:gd name="connsiteX50" fmla="*/ 9042 w 10003"/>
              <a:gd name="connsiteY50" fmla="*/ 6911 h 10000"/>
              <a:gd name="connsiteX51" fmla="*/ 9074 w 10003"/>
              <a:gd name="connsiteY51" fmla="*/ 6911 h 10000"/>
              <a:gd name="connsiteX52" fmla="*/ 9113 w 10003"/>
              <a:gd name="connsiteY52" fmla="*/ 6898 h 10000"/>
              <a:gd name="connsiteX53" fmla="*/ 9166 w 10003"/>
              <a:gd name="connsiteY53" fmla="*/ 6873 h 10000"/>
              <a:gd name="connsiteX54" fmla="*/ 9223 w 10003"/>
              <a:gd name="connsiteY54" fmla="*/ 6821 h 10000"/>
              <a:gd name="connsiteX55" fmla="*/ 9288 w 10003"/>
              <a:gd name="connsiteY55" fmla="*/ 6757 h 10000"/>
              <a:gd name="connsiteX56" fmla="*/ 9359 w 10003"/>
              <a:gd name="connsiteY56" fmla="*/ 6654 h 10000"/>
              <a:gd name="connsiteX57" fmla="*/ 9436 w 10003"/>
              <a:gd name="connsiteY57" fmla="*/ 6512 h 10000"/>
              <a:gd name="connsiteX58" fmla="*/ 9475 w 10003"/>
              <a:gd name="connsiteY58" fmla="*/ 6422 h 10000"/>
              <a:gd name="connsiteX59" fmla="*/ 9513 w 10003"/>
              <a:gd name="connsiteY59" fmla="*/ 6332 h 10000"/>
              <a:gd name="connsiteX60" fmla="*/ 9555 w 10003"/>
              <a:gd name="connsiteY60" fmla="*/ 6229 h 10000"/>
              <a:gd name="connsiteX61" fmla="*/ 9596 w 10003"/>
              <a:gd name="connsiteY61" fmla="*/ 6113 h 10000"/>
              <a:gd name="connsiteX62" fmla="*/ 9638 w 10003"/>
              <a:gd name="connsiteY62" fmla="*/ 5985 h 10000"/>
              <a:gd name="connsiteX63" fmla="*/ 9680 w 10003"/>
              <a:gd name="connsiteY63" fmla="*/ 5843 h 10000"/>
              <a:gd name="connsiteX64" fmla="*/ 9721 w 10003"/>
              <a:gd name="connsiteY64" fmla="*/ 5689 h 10000"/>
              <a:gd name="connsiteX65" fmla="*/ 9760 w 10003"/>
              <a:gd name="connsiteY65" fmla="*/ 5521 h 10000"/>
              <a:gd name="connsiteX66" fmla="*/ 9801 w 10003"/>
              <a:gd name="connsiteY66" fmla="*/ 5328 h 10000"/>
              <a:gd name="connsiteX67" fmla="*/ 9843 w 10003"/>
              <a:gd name="connsiteY67" fmla="*/ 5135 h 10000"/>
              <a:gd name="connsiteX68" fmla="*/ 9881 w 10003"/>
              <a:gd name="connsiteY68" fmla="*/ 4916 h 10000"/>
              <a:gd name="connsiteX69" fmla="*/ 9920 w 10003"/>
              <a:gd name="connsiteY69" fmla="*/ 4685 h 10000"/>
              <a:gd name="connsiteX70" fmla="*/ 9958 w 10003"/>
              <a:gd name="connsiteY70" fmla="*/ 4440 h 10000"/>
              <a:gd name="connsiteX71" fmla="*/ 9997 w 10003"/>
              <a:gd name="connsiteY71" fmla="*/ 4170 h 10000"/>
              <a:gd name="connsiteX72" fmla="*/ 10003 w 10003"/>
              <a:gd name="connsiteY72" fmla="*/ 0 h 10000"/>
              <a:gd name="connsiteX73" fmla="*/ 0 w 10003"/>
              <a:gd name="connsiteY73" fmla="*/ 316 h 10000"/>
              <a:gd name="connsiteX0" fmla="*/ 0 w 9997"/>
              <a:gd name="connsiteY0" fmla="*/ 0 h 9684"/>
              <a:gd name="connsiteX1" fmla="*/ 3 w 9997"/>
              <a:gd name="connsiteY1" fmla="*/ 6492 h 9684"/>
              <a:gd name="connsiteX2" fmla="*/ 3 w 9997"/>
              <a:gd name="connsiteY2" fmla="*/ 6492 h 9684"/>
              <a:gd name="connsiteX3" fmla="*/ 42 w 9997"/>
              <a:gd name="connsiteY3" fmla="*/ 6518 h 9684"/>
              <a:gd name="connsiteX4" fmla="*/ 83 w 9997"/>
              <a:gd name="connsiteY4" fmla="*/ 6544 h 9684"/>
              <a:gd name="connsiteX5" fmla="*/ 139 w 9997"/>
              <a:gd name="connsiteY5" fmla="*/ 6582 h 9684"/>
              <a:gd name="connsiteX6" fmla="*/ 208 w 9997"/>
              <a:gd name="connsiteY6" fmla="*/ 6647 h 9684"/>
              <a:gd name="connsiteX7" fmla="*/ 285 w 9997"/>
              <a:gd name="connsiteY7" fmla="*/ 6737 h 9684"/>
              <a:gd name="connsiteX8" fmla="*/ 371 w 9997"/>
              <a:gd name="connsiteY8" fmla="*/ 6853 h 9684"/>
              <a:gd name="connsiteX9" fmla="*/ 460 w 9997"/>
              <a:gd name="connsiteY9" fmla="*/ 6994 h 9684"/>
              <a:gd name="connsiteX10" fmla="*/ 555 w 9997"/>
              <a:gd name="connsiteY10" fmla="*/ 7174 h 9684"/>
              <a:gd name="connsiteX11" fmla="*/ 599 w 9997"/>
              <a:gd name="connsiteY11" fmla="*/ 7277 h 9684"/>
              <a:gd name="connsiteX12" fmla="*/ 647 w 9997"/>
              <a:gd name="connsiteY12" fmla="*/ 7393 h 9684"/>
              <a:gd name="connsiteX13" fmla="*/ 694 w 9997"/>
              <a:gd name="connsiteY13" fmla="*/ 7522 h 9684"/>
              <a:gd name="connsiteX14" fmla="*/ 739 w 9997"/>
              <a:gd name="connsiteY14" fmla="*/ 7651 h 9684"/>
              <a:gd name="connsiteX15" fmla="*/ 783 w 9997"/>
              <a:gd name="connsiteY15" fmla="*/ 7805 h 9684"/>
              <a:gd name="connsiteX16" fmla="*/ 828 w 9997"/>
              <a:gd name="connsiteY16" fmla="*/ 7959 h 9684"/>
              <a:gd name="connsiteX17" fmla="*/ 869 w 9997"/>
              <a:gd name="connsiteY17" fmla="*/ 8127 h 9684"/>
              <a:gd name="connsiteX18" fmla="*/ 911 w 9997"/>
              <a:gd name="connsiteY18" fmla="*/ 8307 h 9684"/>
              <a:gd name="connsiteX19" fmla="*/ 950 w 9997"/>
              <a:gd name="connsiteY19" fmla="*/ 8500 h 9684"/>
              <a:gd name="connsiteX20" fmla="*/ 985 w 9997"/>
              <a:gd name="connsiteY20" fmla="*/ 8706 h 9684"/>
              <a:gd name="connsiteX21" fmla="*/ 1018 w 9997"/>
              <a:gd name="connsiteY21" fmla="*/ 8938 h 9684"/>
              <a:gd name="connsiteX22" fmla="*/ 1050 w 9997"/>
              <a:gd name="connsiteY22" fmla="*/ 9169 h 9684"/>
              <a:gd name="connsiteX23" fmla="*/ 1077 w 9997"/>
              <a:gd name="connsiteY23" fmla="*/ 9427 h 9684"/>
              <a:gd name="connsiteX24" fmla="*/ 1104 w 9997"/>
              <a:gd name="connsiteY24" fmla="*/ 9684 h 9684"/>
              <a:gd name="connsiteX25" fmla="*/ 1104 w 9997"/>
              <a:gd name="connsiteY25" fmla="*/ 9684 h 9684"/>
              <a:gd name="connsiteX26" fmla="*/ 1116 w 9997"/>
              <a:gd name="connsiteY26" fmla="*/ 9568 h 9684"/>
              <a:gd name="connsiteX27" fmla="*/ 1134 w 9997"/>
              <a:gd name="connsiteY27" fmla="*/ 9427 h 9684"/>
              <a:gd name="connsiteX28" fmla="*/ 1160 w 9997"/>
              <a:gd name="connsiteY28" fmla="*/ 9246 h 9684"/>
              <a:gd name="connsiteX29" fmla="*/ 1193 w 9997"/>
              <a:gd name="connsiteY29" fmla="*/ 9028 h 9684"/>
              <a:gd name="connsiteX30" fmla="*/ 1234 w 9997"/>
              <a:gd name="connsiteY30" fmla="*/ 8796 h 9684"/>
              <a:gd name="connsiteX31" fmla="*/ 1285 w 9997"/>
              <a:gd name="connsiteY31" fmla="*/ 8526 h 9684"/>
              <a:gd name="connsiteX32" fmla="*/ 1341 w 9997"/>
              <a:gd name="connsiteY32" fmla="*/ 8255 h 9684"/>
              <a:gd name="connsiteX33" fmla="*/ 1407 w 9997"/>
              <a:gd name="connsiteY33" fmla="*/ 7985 h 9684"/>
              <a:gd name="connsiteX34" fmla="*/ 1445 w 9997"/>
              <a:gd name="connsiteY34" fmla="*/ 7844 h 9684"/>
              <a:gd name="connsiteX35" fmla="*/ 1484 w 9997"/>
              <a:gd name="connsiteY35" fmla="*/ 7715 h 9684"/>
              <a:gd name="connsiteX36" fmla="*/ 1522 w 9997"/>
              <a:gd name="connsiteY36" fmla="*/ 7586 h 9684"/>
              <a:gd name="connsiteX37" fmla="*/ 1567 w 9997"/>
              <a:gd name="connsiteY37" fmla="*/ 7457 h 9684"/>
              <a:gd name="connsiteX38" fmla="*/ 1611 w 9997"/>
              <a:gd name="connsiteY38" fmla="*/ 7329 h 9684"/>
              <a:gd name="connsiteX39" fmla="*/ 1662 w 9997"/>
              <a:gd name="connsiteY39" fmla="*/ 7213 h 9684"/>
              <a:gd name="connsiteX40" fmla="*/ 1709 w 9997"/>
              <a:gd name="connsiteY40" fmla="*/ 7097 h 9684"/>
              <a:gd name="connsiteX41" fmla="*/ 1763 w 9997"/>
              <a:gd name="connsiteY41" fmla="*/ 6994 h 9684"/>
              <a:gd name="connsiteX42" fmla="*/ 1819 w 9997"/>
              <a:gd name="connsiteY42" fmla="*/ 6904 h 9684"/>
              <a:gd name="connsiteX43" fmla="*/ 1875 w 9997"/>
              <a:gd name="connsiteY43" fmla="*/ 6814 h 9684"/>
              <a:gd name="connsiteX44" fmla="*/ 1935 w 9997"/>
              <a:gd name="connsiteY44" fmla="*/ 6750 h 9684"/>
              <a:gd name="connsiteX45" fmla="*/ 2000 w 9997"/>
              <a:gd name="connsiteY45" fmla="*/ 6685 h 9684"/>
              <a:gd name="connsiteX46" fmla="*/ 2065 w 9997"/>
              <a:gd name="connsiteY46" fmla="*/ 6634 h 9684"/>
              <a:gd name="connsiteX47" fmla="*/ 2131 w 9997"/>
              <a:gd name="connsiteY47" fmla="*/ 6595 h 9684"/>
              <a:gd name="connsiteX48" fmla="*/ 9015 w 9997"/>
              <a:gd name="connsiteY48" fmla="*/ 6595 h 9684"/>
              <a:gd name="connsiteX49" fmla="*/ 9015 w 9997"/>
              <a:gd name="connsiteY49" fmla="*/ 6595 h 9684"/>
              <a:gd name="connsiteX50" fmla="*/ 9042 w 9997"/>
              <a:gd name="connsiteY50" fmla="*/ 6595 h 9684"/>
              <a:gd name="connsiteX51" fmla="*/ 9074 w 9997"/>
              <a:gd name="connsiteY51" fmla="*/ 6595 h 9684"/>
              <a:gd name="connsiteX52" fmla="*/ 9113 w 9997"/>
              <a:gd name="connsiteY52" fmla="*/ 6582 h 9684"/>
              <a:gd name="connsiteX53" fmla="*/ 9166 w 9997"/>
              <a:gd name="connsiteY53" fmla="*/ 6557 h 9684"/>
              <a:gd name="connsiteX54" fmla="*/ 9223 w 9997"/>
              <a:gd name="connsiteY54" fmla="*/ 6505 h 9684"/>
              <a:gd name="connsiteX55" fmla="*/ 9288 w 9997"/>
              <a:gd name="connsiteY55" fmla="*/ 6441 h 9684"/>
              <a:gd name="connsiteX56" fmla="*/ 9359 w 9997"/>
              <a:gd name="connsiteY56" fmla="*/ 6338 h 9684"/>
              <a:gd name="connsiteX57" fmla="*/ 9436 w 9997"/>
              <a:gd name="connsiteY57" fmla="*/ 6196 h 9684"/>
              <a:gd name="connsiteX58" fmla="*/ 9475 w 9997"/>
              <a:gd name="connsiteY58" fmla="*/ 6106 h 9684"/>
              <a:gd name="connsiteX59" fmla="*/ 9513 w 9997"/>
              <a:gd name="connsiteY59" fmla="*/ 6016 h 9684"/>
              <a:gd name="connsiteX60" fmla="*/ 9555 w 9997"/>
              <a:gd name="connsiteY60" fmla="*/ 5913 h 9684"/>
              <a:gd name="connsiteX61" fmla="*/ 9596 w 9997"/>
              <a:gd name="connsiteY61" fmla="*/ 5797 h 9684"/>
              <a:gd name="connsiteX62" fmla="*/ 9638 w 9997"/>
              <a:gd name="connsiteY62" fmla="*/ 5669 h 9684"/>
              <a:gd name="connsiteX63" fmla="*/ 9680 w 9997"/>
              <a:gd name="connsiteY63" fmla="*/ 5527 h 9684"/>
              <a:gd name="connsiteX64" fmla="*/ 9721 w 9997"/>
              <a:gd name="connsiteY64" fmla="*/ 5373 h 9684"/>
              <a:gd name="connsiteX65" fmla="*/ 9760 w 9997"/>
              <a:gd name="connsiteY65" fmla="*/ 5205 h 9684"/>
              <a:gd name="connsiteX66" fmla="*/ 9801 w 9997"/>
              <a:gd name="connsiteY66" fmla="*/ 5012 h 9684"/>
              <a:gd name="connsiteX67" fmla="*/ 9843 w 9997"/>
              <a:gd name="connsiteY67" fmla="*/ 4819 h 9684"/>
              <a:gd name="connsiteX68" fmla="*/ 9881 w 9997"/>
              <a:gd name="connsiteY68" fmla="*/ 4600 h 9684"/>
              <a:gd name="connsiteX69" fmla="*/ 9920 w 9997"/>
              <a:gd name="connsiteY69" fmla="*/ 4369 h 9684"/>
              <a:gd name="connsiteX70" fmla="*/ 9958 w 9997"/>
              <a:gd name="connsiteY70" fmla="*/ 4124 h 9684"/>
              <a:gd name="connsiteX71" fmla="*/ 9997 w 9997"/>
              <a:gd name="connsiteY71" fmla="*/ 3854 h 9684"/>
              <a:gd name="connsiteX72" fmla="*/ 9736 w 9997"/>
              <a:gd name="connsiteY72" fmla="*/ 0 h 9684"/>
              <a:gd name="connsiteX73" fmla="*/ 0 w 9997"/>
              <a:gd name="connsiteY73" fmla="*/ 0 h 9684"/>
              <a:gd name="connsiteX0" fmla="*/ 0 w 10006"/>
              <a:gd name="connsiteY0" fmla="*/ 0 h 10000"/>
              <a:gd name="connsiteX1" fmla="*/ 3 w 10006"/>
              <a:gd name="connsiteY1" fmla="*/ 6704 h 10000"/>
              <a:gd name="connsiteX2" fmla="*/ 3 w 10006"/>
              <a:gd name="connsiteY2" fmla="*/ 6704 h 10000"/>
              <a:gd name="connsiteX3" fmla="*/ 42 w 10006"/>
              <a:gd name="connsiteY3" fmla="*/ 6731 h 10000"/>
              <a:gd name="connsiteX4" fmla="*/ 83 w 10006"/>
              <a:gd name="connsiteY4" fmla="*/ 6758 h 10000"/>
              <a:gd name="connsiteX5" fmla="*/ 139 w 10006"/>
              <a:gd name="connsiteY5" fmla="*/ 6797 h 10000"/>
              <a:gd name="connsiteX6" fmla="*/ 208 w 10006"/>
              <a:gd name="connsiteY6" fmla="*/ 6864 h 10000"/>
              <a:gd name="connsiteX7" fmla="*/ 285 w 10006"/>
              <a:gd name="connsiteY7" fmla="*/ 6957 h 10000"/>
              <a:gd name="connsiteX8" fmla="*/ 371 w 10006"/>
              <a:gd name="connsiteY8" fmla="*/ 7077 h 10000"/>
              <a:gd name="connsiteX9" fmla="*/ 460 w 10006"/>
              <a:gd name="connsiteY9" fmla="*/ 7222 h 10000"/>
              <a:gd name="connsiteX10" fmla="*/ 555 w 10006"/>
              <a:gd name="connsiteY10" fmla="*/ 7408 h 10000"/>
              <a:gd name="connsiteX11" fmla="*/ 599 w 10006"/>
              <a:gd name="connsiteY11" fmla="*/ 7514 h 10000"/>
              <a:gd name="connsiteX12" fmla="*/ 647 w 10006"/>
              <a:gd name="connsiteY12" fmla="*/ 7634 h 10000"/>
              <a:gd name="connsiteX13" fmla="*/ 694 w 10006"/>
              <a:gd name="connsiteY13" fmla="*/ 7767 h 10000"/>
              <a:gd name="connsiteX14" fmla="*/ 739 w 10006"/>
              <a:gd name="connsiteY14" fmla="*/ 7901 h 10000"/>
              <a:gd name="connsiteX15" fmla="*/ 783 w 10006"/>
              <a:gd name="connsiteY15" fmla="*/ 8060 h 10000"/>
              <a:gd name="connsiteX16" fmla="*/ 828 w 10006"/>
              <a:gd name="connsiteY16" fmla="*/ 8219 h 10000"/>
              <a:gd name="connsiteX17" fmla="*/ 869 w 10006"/>
              <a:gd name="connsiteY17" fmla="*/ 8392 h 10000"/>
              <a:gd name="connsiteX18" fmla="*/ 911 w 10006"/>
              <a:gd name="connsiteY18" fmla="*/ 8578 h 10000"/>
              <a:gd name="connsiteX19" fmla="*/ 950 w 10006"/>
              <a:gd name="connsiteY19" fmla="*/ 8777 h 10000"/>
              <a:gd name="connsiteX20" fmla="*/ 985 w 10006"/>
              <a:gd name="connsiteY20" fmla="*/ 8990 h 10000"/>
              <a:gd name="connsiteX21" fmla="*/ 1018 w 10006"/>
              <a:gd name="connsiteY21" fmla="*/ 9230 h 10000"/>
              <a:gd name="connsiteX22" fmla="*/ 1050 w 10006"/>
              <a:gd name="connsiteY22" fmla="*/ 9468 h 10000"/>
              <a:gd name="connsiteX23" fmla="*/ 1077 w 10006"/>
              <a:gd name="connsiteY23" fmla="*/ 9735 h 10000"/>
              <a:gd name="connsiteX24" fmla="*/ 1104 w 10006"/>
              <a:gd name="connsiteY24" fmla="*/ 10000 h 10000"/>
              <a:gd name="connsiteX25" fmla="*/ 1104 w 10006"/>
              <a:gd name="connsiteY25" fmla="*/ 10000 h 10000"/>
              <a:gd name="connsiteX26" fmla="*/ 1116 w 10006"/>
              <a:gd name="connsiteY26" fmla="*/ 9880 h 10000"/>
              <a:gd name="connsiteX27" fmla="*/ 1134 w 10006"/>
              <a:gd name="connsiteY27" fmla="*/ 9735 h 10000"/>
              <a:gd name="connsiteX28" fmla="*/ 1160 w 10006"/>
              <a:gd name="connsiteY28" fmla="*/ 9548 h 10000"/>
              <a:gd name="connsiteX29" fmla="*/ 1193 w 10006"/>
              <a:gd name="connsiteY29" fmla="*/ 9323 h 10000"/>
              <a:gd name="connsiteX30" fmla="*/ 1234 w 10006"/>
              <a:gd name="connsiteY30" fmla="*/ 9083 h 10000"/>
              <a:gd name="connsiteX31" fmla="*/ 1285 w 10006"/>
              <a:gd name="connsiteY31" fmla="*/ 8804 h 10000"/>
              <a:gd name="connsiteX32" fmla="*/ 1341 w 10006"/>
              <a:gd name="connsiteY32" fmla="*/ 8524 h 10000"/>
              <a:gd name="connsiteX33" fmla="*/ 1407 w 10006"/>
              <a:gd name="connsiteY33" fmla="*/ 8246 h 10000"/>
              <a:gd name="connsiteX34" fmla="*/ 1445 w 10006"/>
              <a:gd name="connsiteY34" fmla="*/ 8100 h 10000"/>
              <a:gd name="connsiteX35" fmla="*/ 1484 w 10006"/>
              <a:gd name="connsiteY35" fmla="*/ 7967 h 10000"/>
              <a:gd name="connsiteX36" fmla="*/ 1522 w 10006"/>
              <a:gd name="connsiteY36" fmla="*/ 7834 h 10000"/>
              <a:gd name="connsiteX37" fmla="*/ 1567 w 10006"/>
              <a:gd name="connsiteY37" fmla="*/ 7700 h 10000"/>
              <a:gd name="connsiteX38" fmla="*/ 1611 w 10006"/>
              <a:gd name="connsiteY38" fmla="*/ 7568 h 10000"/>
              <a:gd name="connsiteX39" fmla="*/ 1662 w 10006"/>
              <a:gd name="connsiteY39" fmla="*/ 7448 h 10000"/>
              <a:gd name="connsiteX40" fmla="*/ 1710 w 10006"/>
              <a:gd name="connsiteY40" fmla="*/ 7329 h 10000"/>
              <a:gd name="connsiteX41" fmla="*/ 1764 w 10006"/>
              <a:gd name="connsiteY41" fmla="*/ 7222 h 10000"/>
              <a:gd name="connsiteX42" fmla="*/ 1820 w 10006"/>
              <a:gd name="connsiteY42" fmla="*/ 7129 h 10000"/>
              <a:gd name="connsiteX43" fmla="*/ 1876 w 10006"/>
              <a:gd name="connsiteY43" fmla="*/ 7036 h 10000"/>
              <a:gd name="connsiteX44" fmla="*/ 1936 w 10006"/>
              <a:gd name="connsiteY44" fmla="*/ 6970 h 10000"/>
              <a:gd name="connsiteX45" fmla="*/ 2001 w 10006"/>
              <a:gd name="connsiteY45" fmla="*/ 6903 h 10000"/>
              <a:gd name="connsiteX46" fmla="*/ 2066 w 10006"/>
              <a:gd name="connsiteY46" fmla="*/ 6850 h 10000"/>
              <a:gd name="connsiteX47" fmla="*/ 2132 w 10006"/>
              <a:gd name="connsiteY47" fmla="*/ 6810 h 10000"/>
              <a:gd name="connsiteX48" fmla="*/ 9018 w 10006"/>
              <a:gd name="connsiteY48" fmla="*/ 6810 h 10000"/>
              <a:gd name="connsiteX49" fmla="*/ 9018 w 10006"/>
              <a:gd name="connsiteY49" fmla="*/ 6810 h 10000"/>
              <a:gd name="connsiteX50" fmla="*/ 9045 w 10006"/>
              <a:gd name="connsiteY50" fmla="*/ 6810 h 10000"/>
              <a:gd name="connsiteX51" fmla="*/ 9077 w 10006"/>
              <a:gd name="connsiteY51" fmla="*/ 6810 h 10000"/>
              <a:gd name="connsiteX52" fmla="*/ 9116 w 10006"/>
              <a:gd name="connsiteY52" fmla="*/ 6797 h 10000"/>
              <a:gd name="connsiteX53" fmla="*/ 9169 w 10006"/>
              <a:gd name="connsiteY53" fmla="*/ 6771 h 10000"/>
              <a:gd name="connsiteX54" fmla="*/ 9226 w 10006"/>
              <a:gd name="connsiteY54" fmla="*/ 6717 h 10000"/>
              <a:gd name="connsiteX55" fmla="*/ 9291 w 10006"/>
              <a:gd name="connsiteY55" fmla="*/ 6651 h 10000"/>
              <a:gd name="connsiteX56" fmla="*/ 9362 w 10006"/>
              <a:gd name="connsiteY56" fmla="*/ 6545 h 10000"/>
              <a:gd name="connsiteX57" fmla="*/ 9439 w 10006"/>
              <a:gd name="connsiteY57" fmla="*/ 6398 h 10000"/>
              <a:gd name="connsiteX58" fmla="*/ 9478 w 10006"/>
              <a:gd name="connsiteY58" fmla="*/ 6305 h 10000"/>
              <a:gd name="connsiteX59" fmla="*/ 9516 w 10006"/>
              <a:gd name="connsiteY59" fmla="*/ 6212 h 10000"/>
              <a:gd name="connsiteX60" fmla="*/ 9558 w 10006"/>
              <a:gd name="connsiteY60" fmla="*/ 6106 h 10000"/>
              <a:gd name="connsiteX61" fmla="*/ 9599 w 10006"/>
              <a:gd name="connsiteY61" fmla="*/ 5986 h 10000"/>
              <a:gd name="connsiteX62" fmla="*/ 9641 w 10006"/>
              <a:gd name="connsiteY62" fmla="*/ 5854 h 10000"/>
              <a:gd name="connsiteX63" fmla="*/ 9683 w 10006"/>
              <a:gd name="connsiteY63" fmla="*/ 5707 h 10000"/>
              <a:gd name="connsiteX64" fmla="*/ 9724 w 10006"/>
              <a:gd name="connsiteY64" fmla="*/ 5548 h 10000"/>
              <a:gd name="connsiteX65" fmla="*/ 9763 w 10006"/>
              <a:gd name="connsiteY65" fmla="*/ 5375 h 10000"/>
              <a:gd name="connsiteX66" fmla="*/ 9804 w 10006"/>
              <a:gd name="connsiteY66" fmla="*/ 5176 h 10000"/>
              <a:gd name="connsiteX67" fmla="*/ 9846 w 10006"/>
              <a:gd name="connsiteY67" fmla="*/ 4976 h 10000"/>
              <a:gd name="connsiteX68" fmla="*/ 9884 w 10006"/>
              <a:gd name="connsiteY68" fmla="*/ 4750 h 10000"/>
              <a:gd name="connsiteX69" fmla="*/ 9923 w 10006"/>
              <a:gd name="connsiteY69" fmla="*/ 4512 h 10000"/>
              <a:gd name="connsiteX70" fmla="*/ 9961 w 10006"/>
              <a:gd name="connsiteY70" fmla="*/ 4259 h 10000"/>
              <a:gd name="connsiteX71" fmla="*/ 10000 w 10006"/>
              <a:gd name="connsiteY71" fmla="*/ 3980 h 10000"/>
              <a:gd name="connsiteX72" fmla="*/ 10006 w 10006"/>
              <a:gd name="connsiteY72" fmla="*/ 0 h 10000"/>
              <a:gd name="connsiteX73" fmla="*/ 0 w 10006"/>
              <a:gd name="connsiteY73" fmla="*/ 0 h 10000"/>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943 h 10943"/>
              <a:gd name="connsiteX73" fmla="*/ 0 w 10006"/>
              <a:gd name="connsiteY73" fmla="*/ 0 h 10943"/>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0 h 10943"/>
              <a:gd name="connsiteX0" fmla="*/ 387 w 10004"/>
              <a:gd name="connsiteY0" fmla="*/ 2031 h 10943"/>
              <a:gd name="connsiteX1" fmla="*/ 1 w 10004"/>
              <a:gd name="connsiteY1" fmla="*/ 7647 h 10943"/>
              <a:gd name="connsiteX2" fmla="*/ 1 w 10004"/>
              <a:gd name="connsiteY2" fmla="*/ 7647 h 10943"/>
              <a:gd name="connsiteX3" fmla="*/ 40 w 10004"/>
              <a:gd name="connsiteY3" fmla="*/ 7674 h 10943"/>
              <a:gd name="connsiteX4" fmla="*/ 81 w 10004"/>
              <a:gd name="connsiteY4" fmla="*/ 7701 h 10943"/>
              <a:gd name="connsiteX5" fmla="*/ 137 w 10004"/>
              <a:gd name="connsiteY5" fmla="*/ 7740 h 10943"/>
              <a:gd name="connsiteX6" fmla="*/ 206 w 10004"/>
              <a:gd name="connsiteY6" fmla="*/ 7807 h 10943"/>
              <a:gd name="connsiteX7" fmla="*/ 283 w 10004"/>
              <a:gd name="connsiteY7" fmla="*/ 7900 h 10943"/>
              <a:gd name="connsiteX8" fmla="*/ 369 w 10004"/>
              <a:gd name="connsiteY8" fmla="*/ 8020 h 10943"/>
              <a:gd name="connsiteX9" fmla="*/ 458 w 10004"/>
              <a:gd name="connsiteY9" fmla="*/ 8165 h 10943"/>
              <a:gd name="connsiteX10" fmla="*/ 553 w 10004"/>
              <a:gd name="connsiteY10" fmla="*/ 8351 h 10943"/>
              <a:gd name="connsiteX11" fmla="*/ 597 w 10004"/>
              <a:gd name="connsiteY11" fmla="*/ 8457 h 10943"/>
              <a:gd name="connsiteX12" fmla="*/ 645 w 10004"/>
              <a:gd name="connsiteY12" fmla="*/ 8577 h 10943"/>
              <a:gd name="connsiteX13" fmla="*/ 692 w 10004"/>
              <a:gd name="connsiteY13" fmla="*/ 8710 h 10943"/>
              <a:gd name="connsiteX14" fmla="*/ 737 w 10004"/>
              <a:gd name="connsiteY14" fmla="*/ 8844 h 10943"/>
              <a:gd name="connsiteX15" fmla="*/ 781 w 10004"/>
              <a:gd name="connsiteY15" fmla="*/ 9003 h 10943"/>
              <a:gd name="connsiteX16" fmla="*/ 826 w 10004"/>
              <a:gd name="connsiteY16" fmla="*/ 9162 h 10943"/>
              <a:gd name="connsiteX17" fmla="*/ 867 w 10004"/>
              <a:gd name="connsiteY17" fmla="*/ 9335 h 10943"/>
              <a:gd name="connsiteX18" fmla="*/ 909 w 10004"/>
              <a:gd name="connsiteY18" fmla="*/ 9521 h 10943"/>
              <a:gd name="connsiteX19" fmla="*/ 948 w 10004"/>
              <a:gd name="connsiteY19" fmla="*/ 9720 h 10943"/>
              <a:gd name="connsiteX20" fmla="*/ 983 w 10004"/>
              <a:gd name="connsiteY20" fmla="*/ 9933 h 10943"/>
              <a:gd name="connsiteX21" fmla="*/ 1016 w 10004"/>
              <a:gd name="connsiteY21" fmla="*/ 10173 h 10943"/>
              <a:gd name="connsiteX22" fmla="*/ 1048 w 10004"/>
              <a:gd name="connsiteY22" fmla="*/ 10411 h 10943"/>
              <a:gd name="connsiteX23" fmla="*/ 1075 w 10004"/>
              <a:gd name="connsiteY23" fmla="*/ 10678 h 10943"/>
              <a:gd name="connsiteX24" fmla="*/ 1102 w 10004"/>
              <a:gd name="connsiteY24" fmla="*/ 10943 h 10943"/>
              <a:gd name="connsiteX25" fmla="*/ 1102 w 10004"/>
              <a:gd name="connsiteY25" fmla="*/ 10943 h 10943"/>
              <a:gd name="connsiteX26" fmla="*/ 1114 w 10004"/>
              <a:gd name="connsiteY26" fmla="*/ 10823 h 10943"/>
              <a:gd name="connsiteX27" fmla="*/ 1132 w 10004"/>
              <a:gd name="connsiteY27" fmla="*/ 10678 h 10943"/>
              <a:gd name="connsiteX28" fmla="*/ 1158 w 10004"/>
              <a:gd name="connsiteY28" fmla="*/ 10491 h 10943"/>
              <a:gd name="connsiteX29" fmla="*/ 1191 w 10004"/>
              <a:gd name="connsiteY29" fmla="*/ 10266 h 10943"/>
              <a:gd name="connsiteX30" fmla="*/ 1232 w 10004"/>
              <a:gd name="connsiteY30" fmla="*/ 10026 h 10943"/>
              <a:gd name="connsiteX31" fmla="*/ 1283 w 10004"/>
              <a:gd name="connsiteY31" fmla="*/ 9747 h 10943"/>
              <a:gd name="connsiteX32" fmla="*/ 1339 w 10004"/>
              <a:gd name="connsiteY32" fmla="*/ 9467 h 10943"/>
              <a:gd name="connsiteX33" fmla="*/ 1405 w 10004"/>
              <a:gd name="connsiteY33" fmla="*/ 9189 h 10943"/>
              <a:gd name="connsiteX34" fmla="*/ 1443 w 10004"/>
              <a:gd name="connsiteY34" fmla="*/ 9043 h 10943"/>
              <a:gd name="connsiteX35" fmla="*/ 1482 w 10004"/>
              <a:gd name="connsiteY35" fmla="*/ 8910 h 10943"/>
              <a:gd name="connsiteX36" fmla="*/ 1520 w 10004"/>
              <a:gd name="connsiteY36" fmla="*/ 8777 h 10943"/>
              <a:gd name="connsiteX37" fmla="*/ 1565 w 10004"/>
              <a:gd name="connsiteY37" fmla="*/ 8643 h 10943"/>
              <a:gd name="connsiteX38" fmla="*/ 1609 w 10004"/>
              <a:gd name="connsiteY38" fmla="*/ 8511 h 10943"/>
              <a:gd name="connsiteX39" fmla="*/ 1660 w 10004"/>
              <a:gd name="connsiteY39" fmla="*/ 8391 h 10943"/>
              <a:gd name="connsiteX40" fmla="*/ 1708 w 10004"/>
              <a:gd name="connsiteY40" fmla="*/ 8272 h 10943"/>
              <a:gd name="connsiteX41" fmla="*/ 1762 w 10004"/>
              <a:gd name="connsiteY41" fmla="*/ 8165 h 10943"/>
              <a:gd name="connsiteX42" fmla="*/ 1818 w 10004"/>
              <a:gd name="connsiteY42" fmla="*/ 8072 h 10943"/>
              <a:gd name="connsiteX43" fmla="*/ 1874 w 10004"/>
              <a:gd name="connsiteY43" fmla="*/ 7979 h 10943"/>
              <a:gd name="connsiteX44" fmla="*/ 1934 w 10004"/>
              <a:gd name="connsiteY44" fmla="*/ 7913 h 10943"/>
              <a:gd name="connsiteX45" fmla="*/ 1999 w 10004"/>
              <a:gd name="connsiteY45" fmla="*/ 7846 h 10943"/>
              <a:gd name="connsiteX46" fmla="*/ 2064 w 10004"/>
              <a:gd name="connsiteY46" fmla="*/ 7793 h 10943"/>
              <a:gd name="connsiteX47" fmla="*/ 2130 w 10004"/>
              <a:gd name="connsiteY47" fmla="*/ 7753 h 10943"/>
              <a:gd name="connsiteX48" fmla="*/ 9016 w 10004"/>
              <a:gd name="connsiteY48" fmla="*/ 7753 h 10943"/>
              <a:gd name="connsiteX49" fmla="*/ 9016 w 10004"/>
              <a:gd name="connsiteY49" fmla="*/ 7753 h 10943"/>
              <a:gd name="connsiteX50" fmla="*/ 9043 w 10004"/>
              <a:gd name="connsiteY50" fmla="*/ 7753 h 10943"/>
              <a:gd name="connsiteX51" fmla="*/ 9075 w 10004"/>
              <a:gd name="connsiteY51" fmla="*/ 7753 h 10943"/>
              <a:gd name="connsiteX52" fmla="*/ 9114 w 10004"/>
              <a:gd name="connsiteY52" fmla="*/ 7740 h 10943"/>
              <a:gd name="connsiteX53" fmla="*/ 9167 w 10004"/>
              <a:gd name="connsiteY53" fmla="*/ 7714 h 10943"/>
              <a:gd name="connsiteX54" fmla="*/ 9224 w 10004"/>
              <a:gd name="connsiteY54" fmla="*/ 7660 h 10943"/>
              <a:gd name="connsiteX55" fmla="*/ 9289 w 10004"/>
              <a:gd name="connsiteY55" fmla="*/ 7594 h 10943"/>
              <a:gd name="connsiteX56" fmla="*/ 9360 w 10004"/>
              <a:gd name="connsiteY56" fmla="*/ 7488 h 10943"/>
              <a:gd name="connsiteX57" fmla="*/ 9437 w 10004"/>
              <a:gd name="connsiteY57" fmla="*/ 7341 h 10943"/>
              <a:gd name="connsiteX58" fmla="*/ 9476 w 10004"/>
              <a:gd name="connsiteY58" fmla="*/ 7248 h 10943"/>
              <a:gd name="connsiteX59" fmla="*/ 9514 w 10004"/>
              <a:gd name="connsiteY59" fmla="*/ 7155 h 10943"/>
              <a:gd name="connsiteX60" fmla="*/ 9556 w 10004"/>
              <a:gd name="connsiteY60" fmla="*/ 7049 h 10943"/>
              <a:gd name="connsiteX61" fmla="*/ 9597 w 10004"/>
              <a:gd name="connsiteY61" fmla="*/ 6929 h 10943"/>
              <a:gd name="connsiteX62" fmla="*/ 9639 w 10004"/>
              <a:gd name="connsiteY62" fmla="*/ 6797 h 10943"/>
              <a:gd name="connsiteX63" fmla="*/ 9681 w 10004"/>
              <a:gd name="connsiteY63" fmla="*/ 6650 h 10943"/>
              <a:gd name="connsiteX64" fmla="*/ 9722 w 10004"/>
              <a:gd name="connsiteY64" fmla="*/ 6491 h 10943"/>
              <a:gd name="connsiteX65" fmla="*/ 9761 w 10004"/>
              <a:gd name="connsiteY65" fmla="*/ 6318 h 10943"/>
              <a:gd name="connsiteX66" fmla="*/ 9802 w 10004"/>
              <a:gd name="connsiteY66" fmla="*/ 6119 h 10943"/>
              <a:gd name="connsiteX67" fmla="*/ 9844 w 10004"/>
              <a:gd name="connsiteY67" fmla="*/ 5919 h 10943"/>
              <a:gd name="connsiteX68" fmla="*/ 9882 w 10004"/>
              <a:gd name="connsiteY68" fmla="*/ 5693 h 10943"/>
              <a:gd name="connsiteX69" fmla="*/ 9921 w 10004"/>
              <a:gd name="connsiteY69" fmla="*/ 5455 h 10943"/>
              <a:gd name="connsiteX70" fmla="*/ 9959 w 10004"/>
              <a:gd name="connsiteY70" fmla="*/ 5202 h 10943"/>
              <a:gd name="connsiteX71" fmla="*/ 9998 w 10004"/>
              <a:gd name="connsiteY71" fmla="*/ 4923 h 10943"/>
              <a:gd name="connsiteX72" fmla="*/ 10004 w 10004"/>
              <a:gd name="connsiteY72" fmla="*/ 0 h 10943"/>
              <a:gd name="connsiteX73" fmla="*/ 387 w 10004"/>
              <a:gd name="connsiteY73" fmla="*/ 2031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2"/>
              <a:gd name="connsiteY0" fmla="*/ 0 h 10508"/>
              <a:gd name="connsiteX1" fmla="*/ 3 w 10002"/>
              <a:gd name="connsiteY1" fmla="*/ 7212 h 10508"/>
              <a:gd name="connsiteX2" fmla="*/ 3 w 10002"/>
              <a:gd name="connsiteY2" fmla="*/ 7212 h 10508"/>
              <a:gd name="connsiteX3" fmla="*/ 42 w 10002"/>
              <a:gd name="connsiteY3" fmla="*/ 7239 h 10508"/>
              <a:gd name="connsiteX4" fmla="*/ 83 w 10002"/>
              <a:gd name="connsiteY4" fmla="*/ 7266 h 10508"/>
              <a:gd name="connsiteX5" fmla="*/ 139 w 10002"/>
              <a:gd name="connsiteY5" fmla="*/ 7305 h 10508"/>
              <a:gd name="connsiteX6" fmla="*/ 208 w 10002"/>
              <a:gd name="connsiteY6" fmla="*/ 7372 h 10508"/>
              <a:gd name="connsiteX7" fmla="*/ 285 w 10002"/>
              <a:gd name="connsiteY7" fmla="*/ 7465 h 10508"/>
              <a:gd name="connsiteX8" fmla="*/ 371 w 10002"/>
              <a:gd name="connsiteY8" fmla="*/ 7585 h 10508"/>
              <a:gd name="connsiteX9" fmla="*/ 460 w 10002"/>
              <a:gd name="connsiteY9" fmla="*/ 7730 h 10508"/>
              <a:gd name="connsiteX10" fmla="*/ 555 w 10002"/>
              <a:gd name="connsiteY10" fmla="*/ 7916 h 10508"/>
              <a:gd name="connsiteX11" fmla="*/ 599 w 10002"/>
              <a:gd name="connsiteY11" fmla="*/ 8022 h 10508"/>
              <a:gd name="connsiteX12" fmla="*/ 647 w 10002"/>
              <a:gd name="connsiteY12" fmla="*/ 8142 h 10508"/>
              <a:gd name="connsiteX13" fmla="*/ 694 w 10002"/>
              <a:gd name="connsiteY13" fmla="*/ 8275 h 10508"/>
              <a:gd name="connsiteX14" fmla="*/ 739 w 10002"/>
              <a:gd name="connsiteY14" fmla="*/ 8409 h 10508"/>
              <a:gd name="connsiteX15" fmla="*/ 783 w 10002"/>
              <a:gd name="connsiteY15" fmla="*/ 8568 h 10508"/>
              <a:gd name="connsiteX16" fmla="*/ 828 w 10002"/>
              <a:gd name="connsiteY16" fmla="*/ 8727 h 10508"/>
              <a:gd name="connsiteX17" fmla="*/ 869 w 10002"/>
              <a:gd name="connsiteY17" fmla="*/ 8900 h 10508"/>
              <a:gd name="connsiteX18" fmla="*/ 911 w 10002"/>
              <a:gd name="connsiteY18" fmla="*/ 9086 h 10508"/>
              <a:gd name="connsiteX19" fmla="*/ 950 w 10002"/>
              <a:gd name="connsiteY19" fmla="*/ 9285 h 10508"/>
              <a:gd name="connsiteX20" fmla="*/ 985 w 10002"/>
              <a:gd name="connsiteY20" fmla="*/ 9498 h 10508"/>
              <a:gd name="connsiteX21" fmla="*/ 1018 w 10002"/>
              <a:gd name="connsiteY21" fmla="*/ 9738 h 10508"/>
              <a:gd name="connsiteX22" fmla="*/ 1050 w 10002"/>
              <a:gd name="connsiteY22" fmla="*/ 9976 h 10508"/>
              <a:gd name="connsiteX23" fmla="*/ 1077 w 10002"/>
              <a:gd name="connsiteY23" fmla="*/ 10243 h 10508"/>
              <a:gd name="connsiteX24" fmla="*/ 1104 w 10002"/>
              <a:gd name="connsiteY24" fmla="*/ 10508 h 10508"/>
              <a:gd name="connsiteX25" fmla="*/ 1104 w 10002"/>
              <a:gd name="connsiteY25" fmla="*/ 10508 h 10508"/>
              <a:gd name="connsiteX26" fmla="*/ 1116 w 10002"/>
              <a:gd name="connsiteY26" fmla="*/ 10388 h 10508"/>
              <a:gd name="connsiteX27" fmla="*/ 1134 w 10002"/>
              <a:gd name="connsiteY27" fmla="*/ 10243 h 10508"/>
              <a:gd name="connsiteX28" fmla="*/ 1160 w 10002"/>
              <a:gd name="connsiteY28" fmla="*/ 10056 h 10508"/>
              <a:gd name="connsiteX29" fmla="*/ 1193 w 10002"/>
              <a:gd name="connsiteY29" fmla="*/ 9831 h 10508"/>
              <a:gd name="connsiteX30" fmla="*/ 1234 w 10002"/>
              <a:gd name="connsiteY30" fmla="*/ 9591 h 10508"/>
              <a:gd name="connsiteX31" fmla="*/ 1285 w 10002"/>
              <a:gd name="connsiteY31" fmla="*/ 9312 h 10508"/>
              <a:gd name="connsiteX32" fmla="*/ 1341 w 10002"/>
              <a:gd name="connsiteY32" fmla="*/ 9032 h 10508"/>
              <a:gd name="connsiteX33" fmla="*/ 1407 w 10002"/>
              <a:gd name="connsiteY33" fmla="*/ 8754 h 10508"/>
              <a:gd name="connsiteX34" fmla="*/ 1445 w 10002"/>
              <a:gd name="connsiteY34" fmla="*/ 8608 h 10508"/>
              <a:gd name="connsiteX35" fmla="*/ 1484 w 10002"/>
              <a:gd name="connsiteY35" fmla="*/ 8475 h 10508"/>
              <a:gd name="connsiteX36" fmla="*/ 1522 w 10002"/>
              <a:gd name="connsiteY36" fmla="*/ 8342 h 10508"/>
              <a:gd name="connsiteX37" fmla="*/ 1567 w 10002"/>
              <a:gd name="connsiteY37" fmla="*/ 8208 h 10508"/>
              <a:gd name="connsiteX38" fmla="*/ 1611 w 10002"/>
              <a:gd name="connsiteY38" fmla="*/ 8076 h 10508"/>
              <a:gd name="connsiteX39" fmla="*/ 1662 w 10002"/>
              <a:gd name="connsiteY39" fmla="*/ 7956 h 10508"/>
              <a:gd name="connsiteX40" fmla="*/ 1710 w 10002"/>
              <a:gd name="connsiteY40" fmla="*/ 7837 h 10508"/>
              <a:gd name="connsiteX41" fmla="*/ 1764 w 10002"/>
              <a:gd name="connsiteY41" fmla="*/ 7730 h 10508"/>
              <a:gd name="connsiteX42" fmla="*/ 1820 w 10002"/>
              <a:gd name="connsiteY42" fmla="*/ 7637 h 10508"/>
              <a:gd name="connsiteX43" fmla="*/ 1876 w 10002"/>
              <a:gd name="connsiteY43" fmla="*/ 7544 h 10508"/>
              <a:gd name="connsiteX44" fmla="*/ 1936 w 10002"/>
              <a:gd name="connsiteY44" fmla="*/ 7478 h 10508"/>
              <a:gd name="connsiteX45" fmla="*/ 2001 w 10002"/>
              <a:gd name="connsiteY45" fmla="*/ 7411 h 10508"/>
              <a:gd name="connsiteX46" fmla="*/ 2066 w 10002"/>
              <a:gd name="connsiteY46" fmla="*/ 7358 h 10508"/>
              <a:gd name="connsiteX47" fmla="*/ 2132 w 10002"/>
              <a:gd name="connsiteY47" fmla="*/ 7318 h 10508"/>
              <a:gd name="connsiteX48" fmla="*/ 9018 w 10002"/>
              <a:gd name="connsiteY48" fmla="*/ 7318 h 10508"/>
              <a:gd name="connsiteX49" fmla="*/ 9018 w 10002"/>
              <a:gd name="connsiteY49" fmla="*/ 7318 h 10508"/>
              <a:gd name="connsiteX50" fmla="*/ 9045 w 10002"/>
              <a:gd name="connsiteY50" fmla="*/ 7318 h 10508"/>
              <a:gd name="connsiteX51" fmla="*/ 9077 w 10002"/>
              <a:gd name="connsiteY51" fmla="*/ 7318 h 10508"/>
              <a:gd name="connsiteX52" fmla="*/ 9116 w 10002"/>
              <a:gd name="connsiteY52" fmla="*/ 7305 h 10508"/>
              <a:gd name="connsiteX53" fmla="*/ 9169 w 10002"/>
              <a:gd name="connsiteY53" fmla="*/ 7279 h 10508"/>
              <a:gd name="connsiteX54" fmla="*/ 9226 w 10002"/>
              <a:gd name="connsiteY54" fmla="*/ 7225 h 10508"/>
              <a:gd name="connsiteX55" fmla="*/ 9291 w 10002"/>
              <a:gd name="connsiteY55" fmla="*/ 7159 h 10508"/>
              <a:gd name="connsiteX56" fmla="*/ 9362 w 10002"/>
              <a:gd name="connsiteY56" fmla="*/ 7053 h 10508"/>
              <a:gd name="connsiteX57" fmla="*/ 9439 w 10002"/>
              <a:gd name="connsiteY57" fmla="*/ 6906 h 10508"/>
              <a:gd name="connsiteX58" fmla="*/ 9478 w 10002"/>
              <a:gd name="connsiteY58" fmla="*/ 6813 h 10508"/>
              <a:gd name="connsiteX59" fmla="*/ 9516 w 10002"/>
              <a:gd name="connsiteY59" fmla="*/ 6720 h 10508"/>
              <a:gd name="connsiteX60" fmla="*/ 9558 w 10002"/>
              <a:gd name="connsiteY60" fmla="*/ 6614 h 10508"/>
              <a:gd name="connsiteX61" fmla="*/ 9599 w 10002"/>
              <a:gd name="connsiteY61" fmla="*/ 6494 h 10508"/>
              <a:gd name="connsiteX62" fmla="*/ 9641 w 10002"/>
              <a:gd name="connsiteY62" fmla="*/ 6362 h 10508"/>
              <a:gd name="connsiteX63" fmla="*/ 9683 w 10002"/>
              <a:gd name="connsiteY63" fmla="*/ 6215 h 10508"/>
              <a:gd name="connsiteX64" fmla="*/ 9724 w 10002"/>
              <a:gd name="connsiteY64" fmla="*/ 6056 h 10508"/>
              <a:gd name="connsiteX65" fmla="*/ 9763 w 10002"/>
              <a:gd name="connsiteY65" fmla="*/ 5883 h 10508"/>
              <a:gd name="connsiteX66" fmla="*/ 9804 w 10002"/>
              <a:gd name="connsiteY66" fmla="*/ 5684 h 10508"/>
              <a:gd name="connsiteX67" fmla="*/ 9846 w 10002"/>
              <a:gd name="connsiteY67" fmla="*/ 5484 h 10508"/>
              <a:gd name="connsiteX68" fmla="*/ 9884 w 10002"/>
              <a:gd name="connsiteY68" fmla="*/ 5258 h 10508"/>
              <a:gd name="connsiteX69" fmla="*/ 9923 w 10002"/>
              <a:gd name="connsiteY69" fmla="*/ 5020 h 10508"/>
              <a:gd name="connsiteX70" fmla="*/ 9961 w 10002"/>
              <a:gd name="connsiteY70" fmla="*/ 4767 h 10508"/>
              <a:gd name="connsiteX71" fmla="*/ 10000 w 10002"/>
              <a:gd name="connsiteY71" fmla="*/ 4488 h 10508"/>
              <a:gd name="connsiteX72" fmla="*/ 9552 w 10002"/>
              <a:gd name="connsiteY72" fmla="*/ 0 h 10508"/>
              <a:gd name="connsiteX73" fmla="*/ 0 w 10002"/>
              <a:gd name="connsiteY73" fmla="*/ 0 h 10508"/>
              <a:gd name="connsiteX0" fmla="*/ 0 w 10000"/>
              <a:gd name="connsiteY0" fmla="*/ 0 h 10508"/>
              <a:gd name="connsiteX1" fmla="*/ 3 w 10000"/>
              <a:gd name="connsiteY1" fmla="*/ 7212 h 10508"/>
              <a:gd name="connsiteX2" fmla="*/ 3 w 10000"/>
              <a:gd name="connsiteY2" fmla="*/ 7212 h 10508"/>
              <a:gd name="connsiteX3" fmla="*/ 42 w 10000"/>
              <a:gd name="connsiteY3" fmla="*/ 7239 h 10508"/>
              <a:gd name="connsiteX4" fmla="*/ 83 w 10000"/>
              <a:gd name="connsiteY4" fmla="*/ 7266 h 10508"/>
              <a:gd name="connsiteX5" fmla="*/ 139 w 10000"/>
              <a:gd name="connsiteY5" fmla="*/ 7305 h 10508"/>
              <a:gd name="connsiteX6" fmla="*/ 208 w 10000"/>
              <a:gd name="connsiteY6" fmla="*/ 7372 h 10508"/>
              <a:gd name="connsiteX7" fmla="*/ 285 w 10000"/>
              <a:gd name="connsiteY7" fmla="*/ 7465 h 10508"/>
              <a:gd name="connsiteX8" fmla="*/ 371 w 10000"/>
              <a:gd name="connsiteY8" fmla="*/ 7585 h 10508"/>
              <a:gd name="connsiteX9" fmla="*/ 460 w 10000"/>
              <a:gd name="connsiteY9" fmla="*/ 7730 h 10508"/>
              <a:gd name="connsiteX10" fmla="*/ 555 w 10000"/>
              <a:gd name="connsiteY10" fmla="*/ 7916 h 10508"/>
              <a:gd name="connsiteX11" fmla="*/ 599 w 10000"/>
              <a:gd name="connsiteY11" fmla="*/ 8022 h 10508"/>
              <a:gd name="connsiteX12" fmla="*/ 647 w 10000"/>
              <a:gd name="connsiteY12" fmla="*/ 8142 h 10508"/>
              <a:gd name="connsiteX13" fmla="*/ 694 w 10000"/>
              <a:gd name="connsiteY13" fmla="*/ 8275 h 10508"/>
              <a:gd name="connsiteX14" fmla="*/ 739 w 10000"/>
              <a:gd name="connsiteY14" fmla="*/ 8409 h 10508"/>
              <a:gd name="connsiteX15" fmla="*/ 783 w 10000"/>
              <a:gd name="connsiteY15" fmla="*/ 8568 h 10508"/>
              <a:gd name="connsiteX16" fmla="*/ 828 w 10000"/>
              <a:gd name="connsiteY16" fmla="*/ 8727 h 10508"/>
              <a:gd name="connsiteX17" fmla="*/ 869 w 10000"/>
              <a:gd name="connsiteY17" fmla="*/ 8900 h 10508"/>
              <a:gd name="connsiteX18" fmla="*/ 911 w 10000"/>
              <a:gd name="connsiteY18" fmla="*/ 9086 h 10508"/>
              <a:gd name="connsiteX19" fmla="*/ 950 w 10000"/>
              <a:gd name="connsiteY19" fmla="*/ 9285 h 10508"/>
              <a:gd name="connsiteX20" fmla="*/ 985 w 10000"/>
              <a:gd name="connsiteY20" fmla="*/ 9498 h 10508"/>
              <a:gd name="connsiteX21" fmla="*/ 1018 w 10000"/>
              <a:gd name="connsiteY21" fmla="*/ 9738 h 10508"/>
              <a:gd name="connsiteX22" fmla="*/ 1050 w 10000"/>
              <a:gd name="connsiteY22" fmla="*/ 9976 h 10508"/>
              <a:gd name="connsiteX23" fmla="*/ 1077 w 10000"/>
              <a:gd name="connsiteY23" fmla="*/ 10243 h 10508"/>
              <a:gd name="connsiteX24" fmla="*/ 1104 w 10000"/>
              <a:gd name="connsiteY24" fmla="*/ 10508 h 10508"/>
              <a:gd name="connsiteX25" fmla="*/ 1104 w 10000"/>
              <a:gd name="connsiteY25" fmla="*/ 10508 h 10508"/>
              <a:gd name="connsiteX26" fmla="*/ 1116 w 10000"/>
              <a:gd name="connsiteY26" fmla="*/ 10388 h 10508"/>
              <a:gd name="connsiteX27" fmla="*/ 1134 w 10000"/>
              <a:gd name="connsiteY27" fmla="*/ 10243 h 10508"/>
              <a:gd name="connsiteX28" fmla="*/ 1160 w 10000"/>
              <a:gd name="connsiteY28" fmla="*/ 10056 h 10508"/>
              <a:gd name="connsiteX29" fmla="*/ 1193 w 10000"/>
              <a:gd name="connsiteY29" fmla="*/ 9831 h 10508"/>
              <a:gd name="connsiteX30" fmla="*/ 1234 w 10000"/>
              <a:gd name="connsiteY30" fmla="*/ 9591 h 10508"/>
              <a:gd name="connsiteX31" fmla="*/ 1285 w 10000"/>
              <a:gd name="connsiteY31" fmla="*/ 9312 h 10508"/>
              <a:gd name="connsiteX32" fmla="*/ 1341 w 10000"/>
              <a:gd name="connsiteY32" fmla="*/ 9032 h 10508"/>
              <a:gd name="connsiteX33" fmla="*/ 1407 w 10000"/>
              <a:gd name="connsiteY33" fmla="*/ 8754 h 10508"/>
              <a:gd name="connsiteX34" fmla="*/ 1445 w 10000"/>
              <a:gd name="connsiteY34" fmla="*/ 8608 h 10508"/>
              <a:gd name="connsiteX35" fmla="*/ 1484 w 10000"/>
              <a:gd name="connsiteY35" fmla="*/ 8475 h 10508"/>
              <a:gd name="connsiteX36" fmla="*/ 1522 w 10000"/>
              <a:gd name="connsiteY36" fmla="*/ 8342 h 10508"/>
              <a:gd name="connsiteX37" fmla="*/ 1567 w 10000"/>
              <a:gd name="connsiteY37" fmla="*/ 8208 h 10508"/>
              <a:gd name="connsiteX38" fmla="*/ 1611 w 10000"/>
              <a:gd name="connsiteY38" fmla="*/ 8076 h 10508"/>
              <a:gd name="connsiteX39" fmla="*/ 1662 w 10000"/>
              <a:gd name="connsiteY39" fmla="*/ 7956 h 10508"/>
              <a:gd name="connsiteX40" fmla="*/ 1710 w 10000"/>
              <a:gd name="connsiteY40" fmla="*/ 7837 h 10508"/>
              <a:gd name="connsiteX41" fmla="*/ 1764 w 10000"/>
              <a:gd name="connsiteY41" fmla="*/ 7730 h 10508"/>
              <a:gd name="connsiteX42" fmla="*/ 1820 w 10000"/>
              <a:gd name="connsiteY42" fmla="*/ 7637 h 10508"/>
              <a:gd name="connsiteX43" fmla="*/ 1876 w 10000"/>
              <a:gd name="connsiteY43" fmla="*/ 7544 h 10508"/>
              <a:gd name="connsiteX44" fmla="*/ 1936 w 10000"/>
              <a:gd name="connsiteY44" fmla="*/ 7478 h 10508"/>
              <a:gd name="connsiteX45" fmla="*/ 2001 w 10000"/>
              <a:gd name="connsiteY45" fmla="*/ 7411 h 10508"/>
              <a:gd name="connsiteX46" fmla="*/ 2066 w 10000"/>
              <a:gd name="connsiteY46" fmla="*/ 7358 h 10508"/>
              <a:gd name="connsiteX47" fmla="*/ 2132 w 10000"/>
              <a:gd name="connsiteY47" fmla="*/ 7318 h 10508"/>
              <a:gd name="connsiteX48" fmla="*/ 9018 w 10000"/>
              <a:gd name="connsiteY48" fmla="*/ 7318 h 10508"/>
              <a:gd name="connsiteX49" fmla="*/ 9018 w 10000"/>
              <a:gd name="connsiteY49" fmla="*/ 7318 h 10508"/>
              <a:gd name="connsiteX50" fmla="*/ 9045 w 10000"/>
              <a:gd name="connsiteY50" fmla="*/ 7318 h 10508"/>
              <a:gd name="connsiteX51" fmla="*/ 9077 w 10000"/>
              <a:gd name="connsiteY51" fmla="*/ 7318 h 10508"/>
              <a:gd name="connsiteX52" fmla="*/ 9116 w 10000"/>
              <a:gd name="connsiteY52" fmla="*/ 7305 h 10508"/>
              <a:gd name="connsiteX53" fmla="*/ 9169 w 10000"/>
              <a:gd name="connsiteY53" fmla="*/ 7279 h 10508"/>
              <a:gd name="connsiteX54" fmla="*/ 9226 w 10000"/>
              <a:gd name="connsiteY54" fmla="*/ 7225 h 10508"/>
              <a:gd name="connsiteX55" fmla="*/ 9291 w 10000"/>
              <a:gd name="connsiteY55" fmla="*/ 7159 h 10508"/>
              <a:gd name="connsiteX56" fmla="*/ 9362 w 10000"/>
              <a:gd name="connsiteY56" fmla="*/ 7053 h 10508"/>
              <a:gd name="connsiteX57" fmla="*/ 9439 w 10000"/>
              <a:gd name="connsiteY57" fmla="*/ 6906 h 10508"/>
              <a:gd name="connsiteX58" fmla="*/ 9478 w 10000"/>
              <a:gd name="connsiteY58" fmla="*/ 6813 h 10508"/>
              <a:gd name="connsiteX59" fmla="*/ 9516 w 10000"/>
              <a:gd name="connsiteY59" fmla="*/ 6720 h 10508"/>
              <a:gd name="connsiteX60" fmla="*/ 9558 w 10000"/>
              <a:gd name="connsiteY60" fmla="*/ 6614 h 10508"/>
              <a:gd name="connsiteX61" fmla="*/ 9599 w 10000"/>
              <a:gd name="connsiteY61" fmla="*/ 6494 h 10508"/>
              <a:gd name="connsiteX62" fmla="*/ 9641 w 10000"/>
              <a:gd name="connsiteY62" fmla="*/ 6362 h 10508"/>
              <a:gd name="connsiteX63" fmla="*/ 9683 w 10000"/>
              <a:gd name="connsiteY63" fmla="*/ 6215 h 10508"/>
              <a:gd name="connsiteX64" fmla="*/ 9724 w 10000"/>
              <a:gd name="connsiteY64" fmla="*/ 6056 h 10508"/>
              <a:gd name="connsiteX65" fmla="*/ 9763 w 10000"/>
              <a:gd name="connsiteY65" fmla="*/ 5883 h 10508"/>
              <a:gd name="connsiteX66" fmla="*/ 9804 w 10000"/>
              <a:gd name="connsiteY66" fmla="*/ 5684 h 10508"/>
              <a:gd name="connsiteX67" fmla="*/ 9846 w 10000"/>
              <a:gd name="connsiteY67" fmla="*/ 5484 h 10508"/>
              <a:gd name="connsiteX68" fmla="*/ 9884 w 10000"/>
              <a:gd name="connsiteY68" fmla="*/ 5258 h 10508"/>
              <a:gd name="connsiteX69" fmla="*/ 9923 w 10000"/>
              <a:gd name="connsiteY69" fmla="*/ 5020 h 10508"/>
              <a:gd name="connsiteX70" fmla="*/ 9961 w 10000"/>
              <a:gd name="connsiteY70" fmla="*/ 4767 h 10508"/>
              <a:gd name="connsiteX71" fmla="*/ 10000 w 10000"/>
              <a:gd name="connsiteY71" fmla="*/ 4488 h 10508"/>
              <a:gd name="connsiteX72" fmla="*/ 9552 w 10000"/>
              <a:gd name="connsiteY72" fmla="*/ 0 h 10508"/>
              <a:gd name="connsiteX73" fmla="*/ 0 w 10000"/>
              <a:gd name="connsiteY73" fmla="*/ 0 h 10508"/>
              <a:gd name="connsiteX0" fmla="*/ 0 w 10155"/>
              <a:gd name="connsiteY0" fmla="*/ 0 h 10508"/>
              <a:gd name="connsiteX1" fmla="*/ 3 w 10155"/>
              <a:gd name="connsiteY1" fmla="*/ 7212 h 10508"/>
              <a:gd name="connsiteX2" fmla="*/ 3 w 10155"/>
              <a:gd name="connsiteY2" fmla="*/ 7212 h 10508"/>
              <a:gd name="connsiteX3" fmla="*/ 42 w 10155"/>
              <a:gd name="connsiteY3" fmla="*/ 7239 h 10508"/>
              <a:gd name="connsiteX4" fmla="*/ 83 w 10155"/>
              <a:gd name="connsiteY4" fmla="*/ 7266 h 10508"/>
              <a:gd name="connsiteX5" fmla="*/ 139 w 10155"/>
              <a:gd name="connsiteY5" fmla="*/ 7305 h 10508"/>
              <a:gd name="connsiteX6" fmla="*/ 208 w 10155"/>
              <a:gd name="connsiteY6" fmla="*/ 7372 h 10508"/>
              <a:gd name="connsiteX7" fmla="*/ 285 w 10155"/>
              <a:gd name="connsiteY7" fmla="*/ 7465 h 10508"/>
              <a:gd name="connsiteX8" fmla="*/ 371 w 10155"/>
              <a:gd name="connsiteY8" fmla="*/ 7585 h 10508"/>
              <a:gd name="connsiteX9" fmla="*/ 460 w 10155"/>
              <a:gd name="connsiteY9" fmla="*/ 7730 h 10508"/>
              <a:gd name="connsiteX10" fmla="*/ 555 w 10155"/>
              <a:gd name="connsiteY10" fmla="*/ 7916 h 10508"/>
              <a:gd name="connsiteX11" fmla="*/ 599 w 10155"/>
              <a:gd name="connsiteY11" fmla="*/ 8022 h 10508"/>
              <a:gd name="connsiteX12" fmla="*/ 647 w 10155"/>
              <a:gd name="connsiteY12" fmla="*/ 8142 h 10508"/>
              <a:gd name="connsiteX13" fmla="*/ 694 w 10155"/>
              <a:gd name="connsiteY13" fmla="*/ 8275 h 10508"/>
              <a:gd name="connsiteX14" fmla="*/ 739 w 10155"/>
              <a:gd name="connsiteY14" fmla="*/ 8409 h 10508"/>
              <a:gd name="connsiteX15" fmla="*/ 783 w 10155"/>
              <a:gd name="connsiteY15" fmla="*/ 8568 h 10508"/>
              <a:gd name="connsiteX16" fmla="*/ 828 w 10155"/>
              <a:gd name="connsiteY16" fmla="*/ 8727 h 10508"/>
              <a:gd name="connsiteX17" fmla="*/ 869 w 10155"/>
              <a:gd name="connsiteY17" fmla="*/ 8900 h 10508"/>
              <a:gd name="connsiteX18" fmla="*/ 911 w 10155"/>
              <a:gd name="connsiteY18" fmla="*/ 9086 h 10508"/>
              <a:gd name="connsiteX19" fmla="*/ 950 w 10155"/>
              <a:gd name="connsiteY19" fmla="*/ 9285 h 10508"/>
              <a:gd name="connsiteX20" fmla="*/ 985 w 10155"/>
              <a:gd name="connsiteY20" fmla="*/ 9498 h 10508"/>
              <a:gd name="connsiteX21" fmla="*/ 1018 w 10155"/>
              <a:gd name="connsiteY21" fmla="*/ 9738 h 10508"/>
              <a:gd name="connsiteX22" fmla="*/ 1050 w 10155"/>
              <a:gd name="connsiteY22" fmla="*/ 9976 h 10508"/>
              <a:gd name="connsiteX23" fmla="*/ 1077 w 10155"/>
              <a:gd name="connsiteY23" fmla="*/ 10243 h 10508"/>
              <a:gd name="connsiteX24" fmla="*/ 1104 w 10155"/>
              <a:gd name="connsiteY24" fmla="*/ 10508 h 10508"/>
              <a:gd name="connsiteX25" fmla="*/ 1104 w 10155"/>
              <a:gd name="connsiteY25" fmla="*/ 10508 h 10508"/>
              <a:gd name="connsiteX26" fmla="*/ 1116 w 10155"/>
              <a:gd name="connsiteY26" fmla="*/ 10388 h 10508"/>
              <a:gd name="connsiteX27" fmla="*/ 1134 w 10155"/>
              <a:gd name="connsiteY27" fmla="*/ 10243 h 10508"/>
              <a:gd name="connsiteX28" fmla="*/ 1160 w 10155"/>
              <a:gd name="connsiteY28" fmla="*/ 10056 h 10508"/>
              <a:gd name="connsiteX29" fmla="*/ 1193 w 10155"/>
              <a:gd name="connsiteY29" fmla="*/ 9831 h 10508"/>
              <a:gd name="connsiteX30" fmla="*/ 1234 w 10155"/>
              <a:gd name="connsiteY30" fmla="*/ 9591 h 10508"/>
              <a:gd name="connsiteX31" fmla="*/ 1285 w 10155"/>
              <a:gd name="connsiteY31" fmla="*/ 9312 h 10508"/>
              <a:gd name="connsiteX32" fmla="*/ 1341 w 10155"/>
              <a:gd name="connsiteY32" fmla="*/ 9032 h 10508"/>
              <a:gd name="connsiteX33" fmla="*/ 1407 w 10155"/>
              <a:gd name="connsiteY33" fmla="*/ 8754 h 10508"/>
              <a:gd name="connsiteX34" fmla="*/ 1445 w 10155"/>
              <a:gd name="connsiteY34" fmla="*/ 8608 h 10508"/>
              <a:gd name="connsiteX35" fmla="*/ 1484 w 10155"/>
              <a:gd name="connsiteY35" fmla="*/ 8475 h 10508"/>
              <a:gd name="connsiteX36" fmla="*/ 1522 w 10155"/>
              <a:gd name="connsiteY36" fmla="*/ 8342 h 10508"/>
              <a:gd name="connsiteX37" fmla="*/ 1567 w 10155"/>
              <a:gd name="connsiteY37" fmla="*/ 8208 h 10508"/>
              <a:gd name="connsiteX38" fmla="*/ 1611 w 10155"/>
              <a:gd name="connsiteY38" fmla="*/ 8076 h 10508"/>
              <a:gd name="connsiteX39" fmla="*/ 1662 w 10155"/>
              <a:gd name="connsiteY39" fmla="*/ 7956 h 10508"/>
              <a:gd name="connsiteX40" fmla="*/ 1710 w 10155"/>
              <a:gd name="connsiteY40" fmla="*/ 7837 h 10508"/>
              <a:gd name="connsiteX41" fmla="*/ 1764 w 10155"/>
              <a:gd name="connsiteY41" fmla="*/ 7730 h 10508"/>
              <a:gd name="connsiteX42" fmla="*/ 1820 w 10155"/>
              <a:gd name="connsiteY42" fmla="*/ 7637 h 10508"/>
              <a:gd name="connsiteX43" fmla="*/ 1876 w 10155"/>
              <a:gd name="connsiteY43" fmla="*/ 7544 h 10508"/>
              <a:gd name="connsiteX44" fmla="*/ 1936 w 10155"/>
              <a:gd name="connsiteY44" fmla="*/ 7478 h 10508"/>
              <a:gd name="connsiteX45" fmla="*/ 2001 w 10155"/>
              <a:gd name="connsiteY45" fmla="*/ 7411 h 10508"/>
              <a:gd name="connsiteX46" fmla="*/ 2066 w 10155"/>
              <a:gd name="connsiteY46" fmla="*/ 7358 h 10508"/>
              <a:gd name="connsiteX47" fmla="*/ 2132 w 10155"/>
              <a:gd name="connsiteY47" fmla="*/ 7318 h 10508"/>
              <a:gd name="connsiteX48" fmla="*/ 9018 w 10155"/>
              <a:gd name="connsiteY48" fmla="*/ 7318 h 10508"/>
              <a:gd name="connsiteX49" fmla="*/ 9018 w 10155"/>
              <a:gd name="connsiteY49" fmla="*/ 7318 h 10508"/>
              <a:gd name="connsiteX50" fmla="*/ 9045 w 10155"/>
              <a:gd name="connsiteY50" fmla="*/ 7318 h 10508"/>
              <a:gd name="connsiteX51" fmla="*/ 9077 w 10155"/>
              <a:gd name="connsiteY51" fmla="*/ 7318 h 10508"/>
              <a:gd name="connsiteX52" fmla="*/ 9116 w 10155"/>
              <a:gd name="connsiteY52" fmla="*/ 7305 h 10508"/>
              <a:gd name="connsiteX53" fmla="*/ 9169 w 10155"/>
              <a:gd name="connsiteY53" fmla="*/ 7279 h 10508"/>
              <a:gd name="connsiteX54" fmla="*/ 9226 w 10155"/>
              <a:gd name="connsiteY54" fmla="*/ 7225 h 10508"/>
              <a:gd name="connsiteX55" fmla="*/ 9291 w 10155"/>
              <a:gd name="connsiteY55" fmla="*/ 7159 h 10508"/>
              <a:gd name="connsiteX56" fmla="*/ 9362 w 10155"/>
              <a:gd name="connsiteY56" fmla="*/ 7053 h 10508"/>
              <a:gd name="connsiteX57" fmla="*/ 9439 w 10155"/>
              <a:gd name="connsiteY57" fmla="*/ 6906 h 10508"/>
              <a:gd name="connsiteX58" fmla="*/ 9478 w 10155"/>
              <a:gd name="connsiteY58" fmla="*/ 6813 h 10508"/>
              <a:gd name="connsiteX59" fmla="*/ 9516 w 10155"/>
              <a:gd name="connsiteY59" fmla="*/ 6720 h 10508"/>
              <a:gd name="connsiteX60" fmla="*/ 9558 w 10155"/>
              <a:gd name="connsiteY60" fmla="*/ 6614 h 10508"/>
              <a:gd name="connsiteX61" fmla="*/ 9599 w 10155"/>
              <a:gd name="connsiteY61" fmla="*/ 6494 h 10508"/>
              <a:gd name="connsiteX62" fmla="*/ 9641 w 10155"/>
              <a:gd name="connsiteY62" fmla="*/ 6362 h 10508"/>
              <a:gd name="connsiteX63" fmla="*/ 9683 w 10155"/>
              <a:gd name="connsiteY63" fmla="*/ 6215 h 10508"/>
              <a:gd name="connsiteX64" fmla="*/ 9724 w 10155"/>
              <a:gd name="connsiteY64" fmla="*/ 6056 h 10508"/>
              <a:gd name="connsiteX65" fmla="*/ 9763 w 10155"/>
              <a:gd name="connsiteY65" fmla="*/ 5883 h 10508"/>
              <a:gd name="connsiteX66" fmla="*/ 9804 w 10155"/>
              <a:gd name="connsiteY66" fmla="*/ 5684 h 10508"/>
              <a:gd name="connsiteX67" fmla="*/ 9846 w 10155"/>
              <a:gd name="connsiteY67" fmla="*/ 5484 h 10508"/>
              <a:gd name="connsiteX68" fmla="*/ 9884 w 10155"/>
              <a:gd name="connsiteY68" fmla="*/ 5258 h 10508"/>
              <a:gd name="connsiteX69" fmla="*/ 9923 w 10155"/>
              <a:gd name="connsiteY69" fmla="*/ 5020 h 10508"/>
              <a:gd name="connsiteX70" fmla="*/ 9961 w 10155"/>
              <a:gd name="connsiteY70" fmla="*/ 4767 h 10508"/>
              <a:gd name="connsiteX71" fmla="*/ 10000 w 10155"/>
              <a:gd name="connsiteY71" fmla="*/ 4488 h 10508"/>
              <a:gd name="connsiteX72" fmla="*/ 10006 w 10155"/>
              <a:gd name="connsiteY72" fmla="*/ 0 h 10508"/>
              <a:gd name="connsiteX73" fmla="*/ 0 w 10155"/>
              <a:gd name="connsiteY73" fmla="*/ 0 h 10508"/>
              <a:gd name="connsiteX0" fmla="*/ 0 w 10006"/>
              <a:gd name="connsiteY0" fmla="*/ 0 h 10508"/>
              <a:gd name="connsiteX1" fmla="*/ 3 w 10006"/>
              <a:gd name="connsiteY1" fmla="*/ 7212 h 10508"/>
              <a:gd name="connsiteX2" fmla="*/ 3 w 10006"/>
              <a:gd name="connsiteY2" fmla="*/ 7212 h 10508"/>
              <a:gd name="connsiteX3" fmla="*/ 42 w 10006"/>
              <a:gd name="connsiteY3" fmla="*/ 7239 h 10508"/>
              <a:gd name="connsiteX4" fmla="*/ 83 w 10006"/>
              <a:gd name="connsiteY4" fmla="*/ 7266 h 10508"/>
              <a:gd name="connsiteX5" fmla="*/ 139 w 10006"/>
              <a:gd name="connsiteY5" fmla="*/ 7305 h 10508"/>
              <a:gd name="connsiteX6" fmla="*/ 208 w 10006"/>
              <a:gd name="connsiteY6" fmla="*/ 7372 h 10508"/>
              <a:gd name="connsiteX7" fmla="*/ 285 w 10006"/>
              <a:gd name="connsiteY7" fmla="*/ 7465 h 10508"/>
              <a:gd name="connsiteX8" fmla="*/ 371 w 10006"/>
              <a:gd name="connsiteY8" fmla="*/ 7585 h 10508"/>
              <a:gd name="connsiteX9" fmla="*/ 460 w 10006"/>
              <a:gd name="connsiteY9" fmla="*/ 7730 h 10508"/>
              <a:gd name="connsiteX10" fmla="*/ 555 w 10006"/>
              <a:gd name="connsiteY10" fmla="*/ 7916 h 10508"/>
              <a:gd name="connsiteX11" fmla="*/ 599 w 10006"/>
              <a:gd name="connsiteY11" fmla="*/ 8022 h 10508"/>
              <a:gd name="connsiteX12" fmla="*/ 647 w 10006"/>
              <a:gd name="connsiteY12" fmla="*/ 8142 h 10508"/>
              <a:gd name="connsiteX13" fmla="*/ 694 w 10006"/>
              <a:gd name="connsiteY13" fmla="*/ 8275 h 10508"/>
              <a:gd name="connsiteX14" fmla="*/ 739 w 10006"/>
              <a:gd name="connsiteY14" fmla="*/ 8409 h 10508"/>
              <a:gd name="connsiteX15" fmla="*/ 783 w 10006"/>
              <a:gd name="connsiteY15" fmla="*/ 8568 h 10508"/>
              <a:gd name="connsiteX16" fmla="*/ 828 w 10006"/>
              <a:gd name="connsiteY16" fmla="*/ 8727 h 10508"/>
              <a:gd name="connsiteX17" fmla="*/ 869 w 10006"/>
              <a:gd name="connsiteY17" fmla="*/ 8900 h 10508"/>
              <a:gd name="connsiteX18" fmla="*/ 911 w 10006"/>
              <a:gd name="connsiteY18" fmla="*/ 9086 h 10508"/>
              <a:gd name="connsiteX19" fmla="*/ 950 w 10006"/>
              <a:gd name="connsiteY19" fmla="*/ 9285 h 10508"/>
              <a:gd name="connsiteX20" fmla="*/ 985 w 10006"/>
              <a:gd name="connsiteY20" fmla="*/ 9498 h 10508"/>
              <a:gd name="connsiteX21" fmla="*/ 1018 w 10006"/>
              <a:gd name="connsiteY21" fmla="*/ 9738 h 10508"/>
              <a:gd name="connsiteX22" fmla="*/ 1050 w 10006"/>
              <a:gd name="connsiteY22" fmla="*/ 9976 h 10508"/>
              <a:gd name="connsiteX23" fmla="*/ 1077 w 10006"/>
              <a:gd name="connsiteY23" fmla="*/ 10243 h 10508"/>
              <a:gd name="connsiteX24" fmla="*/ 1104 w 10006"/>
              <a:gd name="connsiteY24" fmla="*/ 10508 h 10508"/>
              <a:gd name="connsiteX25" fmla="*/ 1104 w 10006"/>
              <a:gd name="connsiteY25" fmla="*/ 10508 h 10508"/>
              <a:gd name="connsiteX26" fmla="*/ 1116 w 10006"/>
              <a:gd name="connsiteY26" fmla="*/ 10388 h 10508"/>
              <a:gd name="connsiteX27" fmla="*/ 1134 w 10006"/>
              <a:gd name="connsiteY27" fmla="*/ 10243 h 10508"/>
              <a:gd name="connsiteX28" fmla="*/ 1160 w 10006"/>
              <a:gd name="connsiteY28" fmla="*/ 10056 h 10508"/>
              <a:gd name="connsiteX29" fmla="*/ 1193 w 10006"/>
              <a:gd name="connsiteY29" fmla="*/ 9831 h 10508"/>
              <a:gd name="connsiteX30" fmla="*/ 1234 w 10006"/>
              <a:gd name="connsiteY30" fmla="*/ 9591 h 10508"/>
              <a:gd name="connsiteX31" fmla="*/ 1285 w 10006"/>
              <a:gd name="connsiteY31" fmla="*/ 9312 h 10508"/>
              <a:gd name="connsiteX32" fmla="*/ 1341 w 10006"/>
              <a:gd name="connsiteY32" fmla="*/ 9032 h 10508"/>
              <a:gd name="connsiteX33" fmla="*/ 1407 w 10006"/>
              <a:gd name="connsiteY33" fmla="*/ 8754 h 10508"/>
              <a:gd name="connsiteX34" fmla="*/ 1445 w 10006"/>
              <a:gd name="connsiteY34" fmla="*/ 8608 h 10508"/>
              <a:gd name="connsiteX35" fmla="*/ 1484 w 10006"/>
              <a:gd name="connsiteY35" fmla="*/ 8475 h 10508"/>
              <a:gd name="connsiteX36" fmla="*/ 1522 w 10006"/>
              <a:gd name="connsiteY36" fmla="*/ 8342 h 10508"/>
              <a:gd name="connsiteX37" fmla="*/ 1567 w 10006"/>
              <a:gd name="connsiteY37" fmla="*/ 8208 h 10508"/>
              <a:gd name="connsiteX38" fmla="*/ 1611 w 10006"/>
              <a:gd name="connsiteY38" fmla="*/ 8076 h 10508"/>
              <a:gd name="connsiteX39" fmla="*/ 1662 w 10006"/>
              <a:gd name="connsiteY39" fmla="*/ 7956 h 10508"/>
              <a:gd name="connsiteX40" fmla="*/ 1710 w 10006"/>
              <a:gd name="connsiteY40" fmla="*/ 7837 h 10508"/>
              <a:gd name="connsiteX41" fmla="*/ 1764 w 10006"/>
              <a:gd name="connsiteY41" fmla="*/ 7730 h 10508"/>
              <a:gd name="connsiteX42" fmla="*/ 1820 w 10006"/>
              <a:gd name="connsiteY42" fmla="*/ 7637 h 10508"/>
              <a:gd name="connsiteX43" fmla="*/ 1876 w 10006"/>
              <a:gd name="connsiteY43" fmla="*/ 7544 h 10508"/>
              <a:gd name="connsiteX44" fmla="*/ 1936 w 10006"/>
              <a:gd name="connsiteY44" fmla="*/ 7478 h 10508"/>
              <a:gd name="connsiteX45" fmla="*/ 2001 w 10006"/>
              <a:gd name="connsiteY45" fmla="*/ 7411 h 10508"/>
              <a:gd name="connsiteX46" fmla="*/ 2066 w 10006"/>
              <a:gd name="connsiteY46" fmla="*/ 7358 h 10508"/>
              <a:gd name="connsiteX47" fmla="*/ 2132 w 10006"/>
              <a:gd name="connsiteY47" fmla="*/ 7318 h 10508"/>
              <a:gd name="connsiteX48" fmla="*/ 9018 w 10006"/>
              <a:gd name="connsiteY48" fmla="*/ 7318 h 10508"/>
              <a:gd name="connsiteX49" fmla="*/ 9018 w 10006"/>
              <a:gd name="connsiteY49" fmla="*/ 7318 h 10508"/>
              <a:gd name="connsiteX50" fmla="*/ 9045 w 10006"/>
              <a:gd name="connsiteY50" fmla="*/ 7318 h 10508"/>
              <a:gd name="connsiteX51" fmla="*/ 9077 w 10006"/>
              <a:gd name="connsiteY51" fmla="*/ 7318 h 10508"/>
              <a:gd name="connsiteX52" fmla="*/ 9116 w 10006"/>
              <a:gd name="connsiteY52" fmla="*/ 7305 h 10508"/>
              <a:gd name="connsiteX53" fmla="*/ 9169 w 10006"/>
              <a:gd name="connsiteY53" fmla="*/ 7279 h 10508"/>
              <a:gd name="connsiteX54" fmla="*/ 9226 w 10006"/>
              <a:gd name="connsiteY54" fmla="*/ 7225 h 10508"/>
              <a:gd name="connsiteX55" fmla="*/ 9291 w 10006"/>
              <a:gd name="connsiteY55" fmla="*/ 7159 h 10508"/>
              <a:gd name="connsiteX56" fmla="*/ 9362 w 10006"/>
              <a:gd name="connsiteY56" fmla="*/ 7053 h 10508"/>
              <a:gd name="connsiteX57" fmla="*/ 9439 w 10006"/>
              <a:gd name="connsiteY57" fmla="*/ 6906 h 10508"/>
              <a:gd name="connsiteX58" fmla="*/ 9478 w 10006"/>
              <a:gd name="connsiteY58" fmla="*/ 6813 h 10508"/>
              <a:gd name="connsiteX59" fmla="*/ 9516 w 10006"/>
              <a:gd name="connsiteY59" fmla="*/ 6720 h 10508"/>
              <a:gd name="connsiteX60" fmla="*/ 9558 w 10006"/>
              <a:gd name="connsiteY60" fmla="*/ 6614 h 10508"/>
              <a:gd name="connsiteX61" fmla="*/ 9599 w 10006"/>
              <a:gd name="connsiteY61" fmla="*/ 6494 h 10508"/>
              <a:gd name="connsiteX62" fmla="*/ 9641 w 10006"/>
              <a:gd name="connsiteY62" fmla="*/ 6362 h 10508"/>
              <a:gd name="connsiteX63" fmla="*/ 9683 w 10006"/>
              <a:gd name="connsiteY63" fmla="*/ 6215 h 10508"/>
              <a:gd name="connsiteX64" fmla="*/ 9724 w 10006"/>
              <a:gd name="connsiteY64" fmla="*/ 6056 h 10508"/>
              <a:gd name="connsiteX65" fmla="*/ 9763 w 10006"/>
              <a:gd name="connsiteY65" fmla="*/ 5883 h 10508"/>
              <a:gd name="connsiteX66" fmla="*/ 9804 w 10006"/>
              <a:gd name="connsiteY66" fmla="*/ 5684 h 10508"/>
              <a:gd name="connsiteX67" fmla="*/ 9846 w 10006"/>
              <a:gd name="connsiteY67" fmla="*/ 5484 h 10508"/>
              <a:gd name="connsiteX68" fmla="*/ 9884 w 10006"/>
              <a:gd name="connsiteY68" fmla="*/ 5258 h 10508"/>
              <a:gd name="connsiteX69" fmla="*/ 9923 w 10006"/>
              <a:gd name="connsiteY69" fmla="*/ 5020 h 10508"/>
              <a:gd name="connsiteX70" fmla="*/ 9961 w 10006"/>
              <a:gd name="connsiteY70" fmla="*/ 4767 h 10508"/>
              <a:gd name="connsiteX71" fmla="*/ 10000 w 10006"/>
              <a:gd name="connsiteY71" fmla="*/ 4488 h 10508"/>
              <a:gd name="connsiteX72" fmla="*/ 10006 w 10006"/>
              <a:gd name="connsiteY72" fmla="*/ 0 h 10508"/>
              <a:gd name="connsiteX73" fmla="*/ 0 w 10006"/>
              <a:gd name="connsiteY73" fmla="*/ 0 h 1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6" h="10508">
                <a:moveTo>
                  <a:pt x="0" y="0"/>
                </a:moveTo>
                <a:lnTo>
                  <a:pt x="3" y="7212"/>
                </a:lnTo>
                <a:lnTo>
                  <a:pt x="3" y="7212"/>
                </a:lnTo>
                <a:cubicBezTo>
                  <a:pt x="16" y="7221"/>
                  <a:pt x="29" y="7229"/>
                  <a:pt x="42" y="7239"/>
                </a:cubicBezTo>
                <a:cubicBezTo>
                  <a:pt x="56" y="7248"/>
                  <a:pt x="69" y="7257"/>
                  <a:pt x="83" y="7266"/>
                </a:cubicBezTo>
                <a:cubicBezTo>
                  <a:pt x="102" y="7279"/>
                  <a:pt x="120" y="7292"/>
                  <a:pt x="139" y="7305"/>
                </a:cubicBezTo>
                <a:cubicBezTo>
                  <a:pt x="162" y="7327"/>
                  <a:pt x="185" y="7349"/>
                  <a:pt x="208" y="7372"/>
                </a:cubicBezTo>
                <a:cubicBezTo>
                  <a:pt x="234" y="7403"/>
                  <a:pt x="259" y="7434"/>
                  <a:pt x="285" y="7465"/>
                </a:cubicBezTo>
                <a:cubicBezTo>
                  <a:pt x="314" y="7505"/>
                  <a:pt x="342" y="7545"/>
                  <a:pt x="371" y="7585"/>
                </a:cubicBezTo>
                <a:cubicBezTo>
                  <a:pt x="401" y="7633"/>
                  <a:pt x="430" y="7682"/>
                  <a:pt x="460" y="7730"/>
                </a:cubicBezTo>
                <a:cubicBezTo>
                  <a:pt x="492" y="7792"/>
                  <a:pt x="523" y="7854"/>
                  <a:pt x="555" y="7916"/>
                </a:cubicBezTo>
                <a:cubicBezTo>
                  <a:pt x="570" y="7951"/>
                  <a:pt x="584" y="7987"/>
                  <a:pt x="599" y="8022"/>
                </a:cubicBezTo>
                <a:cubicBezTo>
                  <a:pt x="615" y="8063"/>
                  <a:pt x="631" y="8102"/>
                  <a:pt x="647" y="8142"/>
                </a:cubicBezTo>
                <a:cubicBezTo>
                  <a:pt x="663" y="8187"/>
                  <a:pt x="678" y="8231"/>
                  <a:pt x="694" y="8275"/>
                </a:cubicBezTo>
                <a:cubicBezTo>
                  <a:pt x="709" y="8320"/>
                  <a:pt x="724" y="8364"/>
                  <a:pt x="739" y="8409"/>
                </a:cubicBezTo>
                <a:cubicBezTo>
                  <a:pt x="754" y="8461"/>
                  <a:pt x="768" y="8515"/>
                  <a:pt x="783" y="8568"/>
                </a:cubicBezTo>
                <a:cubicBezTo>
                  <a:pt x="798" y="8620"/>
                  <a:pt x="813" y="8674"/>
                  <a:pt x="828" y="8727"/>
                </a:cubicBezTo>
                <a:cubicBezTo>
                  <a:pt x="842" y="8785"/>
                  <a:pt x="855" y="8842"/>
                  <a:pt x="869" y="8900"/>
                </a:cubicBezTo>
                <a:lnTo>
                  <a:pt x="911" y="9086"/>
                </a:lnTo>
                <a:cubicBezTo>
                  <a:pt x="924" y="9152"/>
                  <a:pt x="937" y="9219"/>
                  <a:pt x="950" y="9285"/>
                </a:cubicBezTo>
                <a:cubicBezTo>
                  <a:pt x="962" y="9357"/>
                  <a:pt x="973" y="9427"/>
                  <a:pt x="985" y="9498"/>
                </a:cubicBezTo>
                <a:lnTo>
                  <a:pt x="1018" y="9738"/>
                </a:lnTo>
                <a:cubicBezTo>
                  <a:pt x="1029" y="9817"/>
                  <a:pt x="1039" y="9897"/>
                  <a:pt x="1050" y="9976"/>
                </a:cubicBezTo>
                <a:lnTo>
                  <a:pt x="1077" y="10243"/>
                </a:lnTo>
                <a:cubicBezTo>
                  <a:pt x="1086" y="10331"/>
                  <a:pt x="1095" y="10419"/>
                  <a:pt x="1104" y="10508"/>
                </a:cubicBezTo>
                <a:lnTo>
                  <a:pt x="1104" y="10508"/>
                </a:lnTo>
                <a:lnTo>
                  <a:pt x="1116" y="10388"/>
                </a:lnTo>
                <a:cubicBezTo>
                  <a:pt x="1122" y="10340"/>
                  <a:pt x="1128" y="10291"/>
                  <a:pt x="1134" y="10243"/>
                </a:cubicBezTo>
                <a:cubicBezTo>
                  <a:pt x="1143" y="10181"/>
                  <a:pt x="1151" y="10118"/>
                  <a:pt x="1160" y="10056"/>
                </a:cubicBezTo>
                <a:cubicBezTo>
                  <a:pt x="1171" y="9980"/>
                  <a:pt x="1182" y="9906"/>
                  <a:pt x="1193" y="9831"/>
                </a:cubicBezTo>
                <a:cubicBezTo>
                  <a:pt x="1207" y="9751"/>
                  <a:pt x="1220" y="9671"/>
                  <a:pt x="1234" y="9591"/>
                </a:cubicBezTo>
                <a:lnTo>
                  <a:pt x="1285" y="9312"/>
                </a:lnTo>
                <a:cubicBezTo>
                  <a:pt x="1304" y="9219"/>
                  <a:pt x="1322" y="9125"/>
                  <a:pt x="1341" y="9032"/>
                </a:cubicBezTo>
                <a:cubicBezTo>
                  <a:pt x="1363" y="8939"/>
                  <a:pt x="1385" y="8847"/>
                  <a:pt x="1407" y="8754"/>
                </a:cubicBezTo>
                <a:cubicBezTo>
                  <a:pt x="1420" y="8705"/>
                  <a:pt x="1432" y="8656"/>
                  <a:pt x="1445" y="8608"/>
                </a:cubicBezTo>
                <a:cubicBezTo>
                  <a:pt x="1458" y="8564"/>
                  <a:pt x="1471" y="8519"/>
                  <a:pt x="1484" y="8475"/>
                </a:cubicBezTo>
                <a:cubicBezTo>
                  <a:pt x="1497" y="8430"/>
                  <a:pt x="1509" y="8386"/>
                  <a:pt x="1522" y="8342"/>
                </a:cubicBezTo>
                <a:cubicBezTo>
                  <a:pt x="1537" y="8297"/>
                  <a:pt x="1552" y="8253"/>
                  <a:pt x="1567" y="8208"/>
                </a:cubicBezTo>
                <a:cubicBezTo>
                  <a:pt x="1582" y="8164"/>
                  <a:pt x="1596" y="8121"/>
                  <a:pt x="1611" y="8076"/>
                </a:cubicBezTo>
                <a:cubicBezTo>
                  <a:pt x="1628" y="8036"/>
                  <a:pt x="1645" y="7997"/>
                  <a:pt x="1662" y="7956"/>
                </a:cubicBezTo>
                <a:cubicBezTo>
                  <a:pt x="1679" y="7916"/>
                  <a:pt x="1694" y="7877"/>
                  <a:pt x="1710" y="7837"/>
                </a:cubicBezTo>
                <a:cubicBezTo>
                  <a:pt x="1728" y="7801"/>
                  <a:pt x="1746" y="7765"/>
                  <a:pt x="1764" y="7730"/>
                </a:cubicBezTo>
                <a:cubicBezTo>
                  <a:pt x="1783" y="7699"/>
                  <a:pt x="1801" y="7668"/>
                  <a:pt x="1820" y="7637"/>
                </a:cubicBezTo>
                <a:cubicBezTo>
                  <a:pt x="1839" y="7606"/>
                  <a:pt x="1857" y="7575"/>
                  <a:pt x="1876" y="7544"/>
                </a:cubicBezTo>
                <a:cubicBezTo>
                  <a:pt x="1896" y="7523"/>
                  <a:pt x="1916" y="7500"/>
                  <a:pt x="1936" y="7478"/>
                </a:cubicBezTo>
                <a:cubicBezTo>
                  <a:pt x="1958" y="7456"/>
                  <a:pt x="1979" y="7433"/>
                  <a:pt x="2001" y="7411"/>
                </a:cubicBezTo>
                <a:cubicBezTo>
                  <a:pt x="2023" y="7394"/>
                  <a:pt x="2044" y="7376"/>
                  <a:pt x="2066" y="7358"/>
                </a:cubicBezTo>
                <a:cubicBezTo>
                  <a:pt x="2088" y="7345"/>
                  <a:pt x="2110" y="7331"/>
                  <a:pt x="2132" y="7318"/>
                </a:cubicBezTo>
                <a:lnTo>
                  <a:pt x="9018" y="7318"/>
                </a:lnTo>
                <a:lnTo>
                  <a:pt x="9018" y="7318"/>
                </a:lnTo>
                <a:lnTo>
                  <a:pt x="9045" y="7318"/>
                </a:lnTo>
                <a:lnTo>
                  <a:pt x="9077" y="7318"/>
                </a:lnTo>
                <a:cubicBezTo>
                  <a:pt x="9090" y="7314"/>
                  <a:pt x="9103" y="7309"/>
                  <a:pt x="9116" y="7305"/>
                </a:cubicBezTo>
                <a:cubicBezTo>
                  <a:pt x="9134" y="7297"/>
                  <a:pt x="9151" y="7287"/>
                  <a:pt x="9169" y="7279"/>
                </a:cubicBezTo>
                <a:lnTo>
                  <a:pt x="9226" y="7225"/>
                </a:lnTo>
                <a:cubicBezTo>
                  <a:pt x="9248" y="7204"/>
                  <a:pt x="9269" y="7181"/>
                  <a:pt x="9291" y="7159"/>
                </a:cubicBezTo>
                <a:cubicBezTo>
                  <a:pt x="9315" y="7124"/>
                  <a:pt x="9338" y="7088"/>
                  <a:pt x="9362" y="7053"/>
                </a:cubicBezTo>
                <a:cubicBezTo>
                  <a:pt x="9388" y="7004"/>
                  <a:pt x="9413" y="6955"/>
                  <a:pt x="9439" y="6906"/>
                </a:cubicBezTo>
                <a:lnTo>
                  <a:pt x="9478" y="6813"/>
                </a:lnTo>
                <a:cubicBezTo>
                  <a:pt x="9491" y="6782"/>
                  <a:pt x="9503" y="6751"/>
                  <a:pt x="9516" y="6720"/>
                </a:cubicBezTo>
                <a:cubicBezTo>
                  <a:pt x="9530" y="6685"/>
                  <a:pt x="9544" y="6649"/>
                  <a:pt x="9558" y="6614"/>
                </a:cubicBezTo>
                <a:cubicBezTo>
                  <a:pt x="9572" y="6574"/>
                  <a:pt x="9585" y="6534"/>
                  <a:pt x="9599" y="6494"/>
                </a:cubicBezTo>
                <a:lnTo>
                  <a:pt x="9641" y="6362"/>
                </a:lnTo>
                <a:lnTo>
                  <a:pt x="9683" y="6215"/>
                </a:lnTo>
                <a:cubicBezTo>
                  <a:pt x="9697" y="6163"/>
                  <a:pt x="9710" y="6109"/>
                  <a:pt x="9724" y="6056"/>
                </a:cubicBezTo>
                <a:cubicBezTo>
                  <a:pt x="9737" y="5998"/>
                  <a:pt x="9750" y="5941"/>
                  <a:pt x="9763" y="5883"/>
                </a:cubicBezTo>
                <a:cubicBezTo>
                  <a:pt x="9777" y="5817"/>
                  <a:pt x="9790" y="5750"/>
                  <a:pt x="9804" y="5684"/>
                </a:cubicBezTo>
                <a:cubicBezTo>
                  <a:pt x="9818" y="5617"/>
                  <a:pt x="9832" y="5550"/>
                  <a:pt x="9846" y="5484"/>
                </a:cubicBezTo>
                <a:cubicBezTo>
                  <a:pt x="9859" y="5409"/>
                  <a:pt x="9871" y="5333"/>
                  <a:pt x="9884" y="5258"/>
                </a:cubicBezTo>
                <a:cubicBezTo>
                  <a:pt x="9897" y="5179"/>
                  <a:pt x="9910" y="5099"/>
                  <a:pt x="9923" y="5020"/>
                </a:cubicBezTo>
                <a:cubicBezTo>
                  <a:pt x="9936" y="4935"/>
                  <a:pt x="9948" y="4851"/>
                  <a:pt x="9961" y="4767"/>
                </a:cubicBezTo>
                <a:lnTo>
                  <a:pt x="10000" y="4488"/>
                </a:lnTo>
                <a:lnTo>
                  <a:pt x="10006"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Rectangle 21"/>
          <p:cNvSpPr>
            <a:spLocks noChangeArrowheads="1"/>
          </p:cNvSpPr>
          <p:nvPr userDrawn="1"/>
        </p:nvSpPr>
        <p:spPr bwMode="auto">
          <a:xfrm>
            <a:off x="2880" y="6529646"/>
            <a:ext cx="9903120" cy="328354"/>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4626" name="think-cell Slide" r:id="rId6" imgW="360" imgH="360" progId="">
              <p:embed/>
            </p:oleObj>
          </a:graphicData>
        </a:graphic>
      </p:graphicFrame>
      <p:sp>
        <p:nvSpPr>
          <p:cNvPr id="2" name="Title 1"/>
          <p:cNvSpPr>
            <a:spLocks noGrp="1"/>
          </p:cNvSpPr>
          <p:nvPr>
            <p:ph type="ctrTitle" hasCustomPrompt="1"/>
            <p:custDataLst>
              <p:tags r:id="rId2"/>
            </p:custDataLst>
          </p:nvPr>
        </p:nvSpPr>
        <p:spPr>
          <a:xfrm>
            <a:off x="493713" y="3204301"/>
            <a:ext cx="4046970" cy="366254"/>
          </a:xfrm>
        </p:spPr>
        <p:txBody>
          <a:bodyPr wrap="square" lIns="0" tIns="0" rIns="0" bIns="0">
            <a:spAutoFit/>
          </a:bodyPr>
          <a:lstStyle>
            <a:lvl1pPr algn="l">
              <a:defRPr sz="2800" b="0">
                <a:solidFill>
                  <a:schemeClr val="tx1"/>
                </a:solidFill>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3"/>
            </p:custDataLst>
          </p:nvPr>
        </p:nvSpPr>
        <p:spPr>
          <a:xfrm>
            <a:off x="493772" y="4551798"/>
            <a:ext cx="4047458" cy="276999"/>
          </a:xfrm>
        </p:spPr>
        <p:txBody>
          <a:bodyPr wrap="square" lIns="0" tIns="0" rIns="0" bIns="0">
            <a:spAutoFit/>
          </a:bodyPr>
          <a:lstStyle>
            <a:lvl1pPr marL="0" indent="0" algn="l">
              <a:buNone/>
              <a:defRPr sz="1800" b="0">
                <a:solidFill>
                  <a:schemeClr val="tx1"/>
                </a:solidFill>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036" name="Picture 12">
            <a:hlinkClick r:id="rId7" action="ppaction://hlinksldjump"/>
          </p:cNvPr>
          <p:cNvPicPr>
            <a:picLocks noChangeAspect="1" noChangeArrowheads="1"/>
          </p:cNvPicPr>
          <p:nvPr userDrawn="1"/>
        </p:nvPicPr>
        <p:blipFill>
          <a:blip r:embed="rId8"/>
          <a:srcRect/>
          <a:stretch>
            <a:fillRect/>
          </a:stretch>
        </p:blipFill>
        <p:spPr bwMode="auto">
          <a:xfrm>
            <a:off x="1103313" y="6591300"/>
            <a:ext cx="228600" cy="238125"/>
          </a:xfrm>
          <a:prstGeom prst="rect">
            <a:avLst/>
          </a:prstGeom>
          <a:noFill/>
          <a:ln w="9525">
            <a:noFill/>
            <a:miter lim="800000"/>
            <a:headEnd/>
            <a:tailEnd/>
          </a:ln>
          <a:effectLst/>
        </p:spPr>
      </p:pic>
      <p:pic>
        <p:nvPicPr>
          <p:cNvPr id="1037" name="Picture 13">
            <a:hlinkClick r:id="" action="ppaction://hlinkshowjump?jump=nextslide"/>
          </p:cNvPr>
          <p:cNvPicPr>
            <a:picLocks noChangeAspect="1" noChangeArrowheads="1"/>
          </p:cNvPicPr>
          <p:nvPr userDrawn="1"/>
        </p:nvPicPr>
        <p:blipFill>
          <a:blip r:embed="rId9"/>
          <a:srcRect/>
          <a:stretch>
            <a:fillRect/>
          </a:stretch>
        </p:blipFill>
        <p:spPr bwMode="auto">
          <a:xfrm>
            <a:off x="9228138" y="6599299"/>
            <a:ext cx="190500" cy="200025"/>
          </a:xfrm>
          <a:prstGeom prst="rect">
            <a:avLst/>
          </a:prstGeom>
          <a:noFill/>
          <a:ln w="9525">
            <a:noFill/>
            <a:miter lim="800000"/>
            <a:headEnd/>
            <a:tailEnd/>
          </a:ln>
          <a:effectLst/>
        </p:spPr>
      </p:pic>
      <p:sp>
        <p:nvSpPr>
          <p:cNvPr id="13" name="Freeform 6"/>
          <p:cNvSpPr>
            <a:spLocks/>
          </p:cNvSpPr>
          <p:nvPr userDrawn="1"/>
        </p:nvSpPr>
        <p:spPr bwMode="auto">
          <a:xfrm>
            <a:off x="0" y="764775"/>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userDrawn="1"/>
        </p:nvSpPr>
        <p:spPr>
          <a:xfrm>
            <a:off x="7715250" y="440835"/>
            <a:ext cx="1703388" cy="548640"/>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lumMod val="50000"/>
                  </a:schemeClr>
                </a:solidFill>
              </a:rPr>
              <a:t>Client Logo</a:t>
            </a:r>
          </a:p>
        </p:txBody>
      </p:sp>
      <p:pic>
        <p:nvPicPr>
          <p:cNvPr id="18" name="Picture 17" descr="Capgemini_logo_cover.jpg"/>
          <p:cNvPicPr>
            <a:picLocks noChangeAspect="1"/>
          </p:cNvPicPr>
          <p:nvPr userDrawn="1"/>
        </p:nvPicPr>
        <p:blipFill>
          <a:blip r:embed="rId10"/>
          <a:stretch>
            <a:fillRect/>
          </a:stretch>
        </p:blipFill>
        <p:spPr>
          <a:xfrm>
            <a:off x="482184" y="440835"/>
            <a:ext cx="2305948" cy="546076"/>
          </a:xfrm>
          <a:prstGeom prst="rect">
            <a:avLst/>
          </a:prstGeom>
        </p:spPr>
      </p:pic>
      <p:grpSp>
        <p:nvGrpSpPr>
          <p:cNvPr id="20" name="Group 5"/>
          <p:cNvGrpSpPr>
            <a:grpSpLocks noChangeAspect="1"/>
          </p:cNvGrpSpPr>
          <p:nvPr userDrawn="1"/>
        </p:nvGrpSpPr>
        <p:grpSpPr bwMode="auto">
          <a:xfrm>
            <a:off x="493713" y="5589588"/>
            <a:ext cx="9563100" cy="531812"/>
            <a:chOff x="216" y="3521"/>
            <a:chExt cx="6024" cy="335"/>
          </a:xfrm>
        </p:grpSpPr>
        <p:sp>
          <p:nvSpPr>
            <p:cNvPr id="23" name="AutoShape 4"/>
            <p:cNvSpPr>
              <a:spLocks noChangeAspect="1" noChangeArrowheads="1" noTextEdit="1"/>
            </p:cNvSpPr>
            <p:nvPr/>
          </p:nvSpPr>
          <p:spPr bwMode="auto">
            <a:xfrm>
              <a:off x="216" y="3521"/>
              <a:ext cx="6024" cy="33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
            <p:cNvSpPr>
              <a:spLocks/>
            </p:cNvSpPr>
            <p:nvPr/>
          </p:nvSpPr>
          <p:spPr bwMode="auto">
            <a:xfrm>
              <a:off x="1764" y="3659"/>
              <a:ext cx="52" cy="123"/>
            </a:xfrm>
            <a:custGeom>
              <a:avLst/>
              <a:gdLst/>
              <a:ahLst/>
              <a:cxnLst>
                <a:cxn ang="0">
                  <a:pos x="25" y="170"/>
                </a:cxn>
                <a:cxn ang="0">
                  <a:pos x="23" y="141"/>
                </a:cxn>
                <a:cxn ang="0">
                  <a:pos x="15" y="139"/>
                </a:cxn>
                <a:cxn ang="0">
                  <a:pos x="15" y="139"/>
                </a:cxn>
                <a:cxn ang="0">
                  <a:pos x="12" y="137"/>
                </a:cxn>
                <a:cxn ang="0">
                  <a:pos x="8" y="133"/>
                </a:cxn>
                <a:cxn ang="0">
                  <a:pos x="6" y="127"/>
                </a:cxn>
                <a:cxn ang="0">
                  <a:pos x="4" y="122"/>
                </a:cxn>
                <a:cxn ang="0">
                  <a:pos x="0" y="36"/>
                </a:cxn>
                <a:cxn ang="0">
                  <a:pos x="0" y="36"/>
                </a:cxn>
                <a:cxn ang="0">
                  <a:pos x="0" y="30"/>
                </a:cxn>
                <a:cxn ang="0">
                  <a:pos x="2" y="26"/>
                </a:cxn>
                <a:cxn ang="0">
                  <a:pos x="8" y="16"/>
                </a:cxn>
                <a:cxn ang="0">
                  <a:pos x="17" y="10"/>
                </a:cxn>
                <a:cxn ang="0">
                  <a:pos x="31" y="4"/>
                </a:cxn>
                <a:cxn ang="0">
                  <a:pos x="45" y="0"/>
                </a:cxn>
                <a:cxn ang="0">
                  <a:pos x="60" y="0"/>
                </a:cxn>
                <a:cxn ang="0">
                  <a:pos x="76" y="0"/>
                </a:cxn>
                <a:cxn ang="0">
                  <a:pos x="92" y="2"/>
                </a:cxn>
                <a:cxn ang="0">
                  <a:pos x="92" y="2"/>
                </a:cxn>
                <a:cxn ang="0">
                  <a:pos x="88" y="14"/>
                </a:cxn>
                <a:cxn ang="0">
                  <a:pos x="88" y="26"/>
                </a:cxn>
                <a:cxn ang="0">
                  <a:pos x="92" y="131"/>
                </a:cxn>
                <a:cxn ang="0">
                  <a:pos x="92" y="131"/>
                </a:cxn>
                <a:cxn ang="0">
                  <a:pos x="94" y="141"/>
                </a:cxn>
                <a:cxn ang="0">
                  <a:pos x="95" y="149"/>
                </a:cxn>
                <a:cxn ang="0">
                  <a:pos x="99" y="155"/>
                </a:cxn>
                <a:cxn ang="0">
                  <a:pos x="103" y="161"/>
                </a:cxn>
                <a:cxn ang="0">
                  <a:pos x="97" y="241"/>
                </a:cxn>
                <a:cxn ang="0">
                  <a:pos x="97" y="241"/>
                </a:cxn>
                <a:cxn ang="0">
                  <a:pos x="95" y="245"/>
                </a:cxn>
                <a:cxn ang="0">
                  <a:pos x="92" y="247"/>
                </a:cxn>
                <a:cxn ang="0">
                  <a:pos x="37" y="247"/>
                </a:cxn>
                <a:cxn ang="0">
                  <a:pos x="37" y="247"/>
                </a:cxn>
                <a:cxn ang="0">
                  <a:pos x="37" y="247"/>
                </a:cxn>
                <a:cxn ang="0">
                  <a:pos x="33" y="245"/>
                </a:cxn>
                <a:cxn ang="0">
                  <a:pos x="31" y="241"/>
                </a:cxn>
                <a:cxn ang="0">
                  <a:pos x="27" y="207"/>
                </a:cxn>
              </a:cxnLst>
              <a:rect l="0" t="0" r="r" b="b"/>
              <a:pathLst>
                <a:path w="103" h="247">
                  <a:moveTo>
                    <a:pt x="25" y="170"/>
                  </a:moveTo>
                  <a:lnTo>
                    <a:pt x="23" y="141"/>
                  </a:lnTo>
                  <a:lnTo>
                    <a:pt x="15" y="139"/>
                  </a:lnTo>
                  <a:lnTo>
                    <a:pt x="15" y="139"/>
                  </a:lnTo>
                  <a:lnTo>
                    <a:pt x="12" y="137"/>
                  </a:lnTo>
                  <a:lnTo>
                    <a:pt x="8" y="133"/>
                  </a:lnTo>
                  <a:lnTo>
                    <a:pt x="6" y="127"/>
                  </a:lnTo>
                  <a:lnTo>
                    <a:pt x="4" y="122"/>
                  </a:lnTo>
                  <a:lnTo>
                    <a:pt x="0" y="36"/>
                  </a:lnTo>
                  <a:lnTo>
                    <a:pt x="0" y="36"/>
                  </a:lnTo>
                  <a:lnTo>
                    <a:pt x="0" y="30"/>
                  </a:lnTo>
                  <a:lnTo>
                    <a:pt x="2" y="26"/>
                  </a:lnTo>
                  <a:lnTo>
                    <a:pt x="8" y="16"/>
                  </a:lnTo>
                  <a:lnTo>
                    <a:pt x="17" y="10"/>
                  </a:lnTo>
                  <a:lnTo>
                    <a:pt x="31" y="4"/>
                  </a:lnTo>
                  <a:lnTo>
                    <a:pt x="45" y="0"/>
                  </a:lnTo>
                  <a:lnTo>
                    <a:pt x="60" y="0"/>
                  </a:lnTo>
                  <a:lnTo>
                    <a:pt x="76" y="0"/>
                  </a:lnTo>
                  <a:lnTo>
                    <a:pt x="92" y="2"/>
                  </a:lnTo>
                  <a:lnTo>
                    <a:pt x="92" y="2"/>
                  </a:lnTo>
                  <a:lnTo>
                    <a:pt x="88" y="14"/>
                  </a:lnTo>
                  <a:lnTo>
                    <a:pt x="88" y="26"/>
                  </a:lnTo>
                  <a:lnTo>
                    <a:pt x="92" y="131"/>
                  </a:lnTo>
                  <a:lnTo>
                    <a:pt x="92" y="131"/>
                  </a:lnTo>
                  <a:lnTo>
                    <a:pt x="94" y="141"/>
                  </a:lnTo>
                  <a:lnTo>
                    <a:pt x="95" y="149"/>
                  </a:lnTo>
                  <a:lnTo>
                    <a:pt x="99" y="155"/>
                  </a:lnTo>
                  <a:lnTo>
                    <a:pt x="103" y="161"/>
                  </a:lnTo>
                  <a:lnTo>
                    <a:pt x="97" y="241"/>
                  </a:lnTo>
                  <a:lnTo>
                    <a:pt x="97" y="241"/>
                  </a:lnTo>
                  <a:lnTo>
                    <a:pt x="95" y="245"/>
                  </a:lnTo>
                  <a:lnTo>
                    <a:pt x="92" y="247"/>
                  </a:lnTo>
                  <a:lnTo>
                    <a:pt x="37" y="247"/>
                  </a:lnTo>
                  <a:lnTo>
                    <a:pt x="37" y="247"/>
                  </a:lnTo>
                  <a:lnTo>
                    <a:pt x="37" y="247"/>
                  </a:lnTo>
                  <a:lnTo>
                    <a:pt x="33" y="245"/>
                  </a:lnTo>
                  <a:lnTo>
                    <a:pt x="31" y="241"/>
                  </a:lnTo>
                  <a:lnTo>
                    <a:pt x="27" y="20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
            <p:cNvSpPr>
              <a:spLocks/>
            </p:cNvSpPr>
            <p:nvPr/>
          </p:nvSpPr>
          <p:spPr bwMode="auto">
            <a:xfrm>
              <a:off x="1779" y="3614"/>
              <a:ext cx="34" cy="40"/>
            </a:xfrm>
            <a:custGeom>
              <a:avLst/>
              <a:gdLst/>
              <a:ahLst/>
              <a:cxnLst>
                <a:cxn ang="0">
                  <a:pos x="68" y="25"/>
                </a:cxn>
                <a:cxn ang="0">
                  <a:pos x="68" y="25"/>
                </a:cxn>
                <a:cxn ang="0">
                  <a:pos x="68" y="19"/>
                </a:cxn>
                <a:cxn ang="0">
                  <a:pos x="66" y="13"/>
                </a:cxn>
                <a:cxn ang="0">
                  <a:pos x="63" y="9"/>
                </a:cxn>
                <a:cxn ang="0">
                  <a:pos x="59" y="5"/>
                </a:cxn>
                <a:cxn ang="0">
                  <a:pos x="47" y="2"/>
                </a:cxn>
                <a:cxn ang="0">
                  <a:pos x="35" y="0"/>
                </a:cxn>
                <a:cxn ang="0">
                  <a:pos x="35" y="0"/>
                </a:cxn>
                <a:cxn ang="0">
                  <a:pos x="24" y="2"/>
                </a:cxn>
                <a:cxn ang="0">
                  <a:pos x="12" y="5"/>
                </a:cxn>
                <a:cxn ang="0">
                  <a:pos x="8" y="9"/>
                </a:cxn>
                <a:cxn ang="0">
                  <a:pos x="4" y="13"/>
                </a:cxn>
                <a:cxn ang="0">
                  <a:pos x="2" y="19"/>
                </a:cxn>
                <a:cxn ang="0">
                  <a:pos x="0" y="25"/>
                </a:cxn>
                <a:cxn ang="0">
                  <a:pos x="0" y="25"/>
                </a:cxn>
                <a:cxn ang="0">
                  <a:pos x="2" y="44"/>
                </a:cxn>
                <a:cxn ang="0">
                  <a:pos x="4" y="56"/>
                </a:cxn>
                <a:cxn ang="0">
                  <a:pos x="6" y="64"/>
                </a:cxn>
                <a:cxn ang="0">
                  <a:pos x="6" y="64"/>
                </a:cxn>
                <a:cxn ang="0">
                  <a:pos x="10" y="68"/>
                </a:cxn>
                <a:cxn ang="0">
                  <a:pos x="16" y="74"/>
                </a:cxn>
                <a:cxn ang="0">
                  <a:pos x="22" y="78"/>
                </a:cxn>
                <a:cxn ang="0">
                  <a:pos x="29" y="80"/>
                </a:cxn>
                <a:cxn ang="0">
                  <a:pos x="29" y="80"/>
                </a:cxn>
                <a:cxn ang="0">
                  <a:pos x="41" y="80"/>
                </a:cxn>
                <a:cxn ang="0">
                  <a:pos x="41" y="80"/>
                </a:cxn>
                <a:cxn ang="0">
                  <a:pos x="47" y="78"/>
                </a:cxn>
                <a:cxn ang="0">
                  <a:pos x="55" y="74"/>
                </a:cxn>
                <a:cxn ang="0">
                  <a:pos x="61" y="68"/>
                </a:cxn>
                <a:cxn ang="0">
                  <a:pos x="65" y="64"/>
                </a:cxn>
                <a:cxn ang="0">
                  <a:pos x="65" y="64"/>
                </a:cxn>
                <a:cxn ang="0">
                  <a:pos x="66" y="56"/>
                </a:cxn>
                <a:cxn ang="0">
                  <a:pos x="68" y="44"/>
                </a:cxn>
                <a:cxn ang="0">
                  <a:pos x="68" y="25"/>
                </a:cxn>
                <a:cxn ang="0">
                  <a:pos x="68" y="25"/>
                </a:cxn>
              </a:cxnLst>
              <a:rect l="0" t="0" r="r" b="b"/>
              <a:pathLst>
                <a:path w="68" h="80">
                  <a:moveTo>
                    <a:pt x="68" y="25"/>
                  </a:moveTo>
                  <a:lnTo>
                    <a:pt x="68" y="25"/>
                  </a:lnTo>
                  <a:lnTo>
                    <a:pt x="68" y="19"/>
                  </a:lnTo>
                  <a:lnTo>
                    <a:pt x="66" y="13"/>
                  </a:lnTo>
                  <a:lnTo>
                    <a:pt x="63" y="9"/>
                  </a:lnTo>
                  <a:lnTo>
                    <a:pt x="59" y="5"/>
                  </a:lnTo>
                  <a:lnTo>
                    <a:pt x="47" y="2"/>
                  </a:lnTo>
                  <a:lnTo>
                    <a:pt x="35" y="0"/>
                  </a:lnTo>
                  <a:lnTo>
                    <a:pt x="35" y="0"/>
                  </a:lnTo>
                  <a:lnTo>
                    <a:pt x="24" y="2"/>
                  </a:lnTo>
                  <a:lnTo>
                    <a:pt x="12" y="5"/>
                  </a:lnTo>
                  <a:lnTo>
                    <a:pt x="8" y="9"/>
                  </a:lnTo>
                  <a:lnTo>
                    <a:pt x="4" y="13"/>
                  </a:lnTo>
                  <a:lnTo>
                    <a:pt x="2" y="19"/>
                  </a:lnTo>
                  <a:lnTo>
                    <a:pt x="0" y="25"/>
                  </a:lnTo>
                  <a:lnTo>
                    <a:pt x="0" y="25"/>
                  </a:lnTo>
                  <a:lnTo>
                    <a:pt x="2" y="44"/>
                  </a:lnTo>
                  <a:lnTo>
                    <a:pt x="4" y="56"/>
                  </a:lnTo>
                  <a:lnTo>
                    <a:pt x="6" y="64"/>
                  </a:lnTo>
                  <a:lnTo>
                    <a:pt x="6" y="64"/>
                  </a:lnTo>
                  <a:lnTo>
                    <a:pt x="10" y="68"/>
                  </a:lnTo>
                  <a:lnTo>
                    <a:pt x="16" y="74"/>
                  </a:lnTo>
                  <a:lnTo>
                    <a:pt x="22" y="78"/>
                  </a:lnTo>
                  <a:lnTo>
                    <a:pt x="29" y="80"/>
                  </a:lnTo>
                  <a:lnTo>
                    <a:pt x="29" y="80"/>
                  </a:lnTo>
                  <a:lnTo>
                    <a:pt x="41" y="80"/>
                  </a:lnTo>
                  <a:lnTo>
                    <a:pt x="41" y="80"/>
                  </a:lnTo>
                  <a:lnTo>
                    <a:pt x="47" y="78"/>
                  </a:lnTo>
                  <a:lnTo>
                    <a:pt x="55" y="74"/>
                  </a:lnTo>
                  <a:lnTo>
                    <a:pt x="61" y="68"/>
                  </a:lnTo>
                  <a:lnTo>
                    <a:pt x="65" y="64"/>
                  </a:lnTo>
                  <a:lnTo>
                    <a:pt x="65" y="64"/>
                  </a:lnTo>
                  <a:lnTo>
                    <a:pt x="66" y="56"/>
                  </a:lnTo>
                  <a:lnTo>
                    <a:pt x="68" y="44"/>
                  </a:lnTo>
                  <a:lnTo>
                    <a:pt x="68" y="25"/>
                  </a:lnTo>
                  <a:lnTo>
                    <a:pt x="68" y="2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
            <p:cNvSpPr>
              <a:spLocks/>
            </p:cNvSpPr>
            <p:nvPr/>
          </p:nvSpPr>
          <p:spPr bwMode="auto">
            <a:xfrm>
              <a:off x="2054" y="3659"/>
              <a:ext cx="52" cy="123"/>
            </a:xfrm>
            <a:custGeom>
              <a:avLst/>
              <a:gdLst/>
              <a:ahLst/>
              <a:cxnLst>
                <a:cxn ang="0">
                  <a:pos x="78" y="174"/>
                </a:cxn>
                <a:cxn ang="0">
                  <a:pos x="80" y="141"/>
                </a:cxn>
                <a:cxn ang="0">
                  <a:pos x="87" y="139"/>
                </a:cxn>
                <a:cxn ang="0">
                  <a:pos x="87" y="139"/>
                </a:cxn>
                <a:cxn ang="0">
                  <a:pos x="93" y="137"/>
                </a:cxn>
                <a:cxn ang="0">
                  <a:pos x="95" y="133"/>
                </a:cxn>
                <a:cxn ang="0">
                  <a:pos x="97" y="127"/>
                </a:cxn>
                <a:cxn ang="0">
                  <a:pos x="99" y="122"/>
                </a:cxn>
                <a:cxn ang="0">
                  <a:pos x="103" y="36"/>
                </a:cxn>
                <a:cxn ang="0">
                  <a:pos x="103" y="36"/>
                </a:cxn>
                <a:cxn ang="0">
                  <a:pos x="103" y="30"/>
                </a:cxn>
                <a:cxn ang="0">
                  <a:pos x="101" y="26"/>
                </a:cxn>
                <a:cxn ang="0">
                  <a:pos x="95" y="16"/>
                </a:cxn>
                <a:cxn ang="0">
                  <a:pos x="85" y="10"/>
                </a:cxn>
                <a:cxn ang="0">
                  <a:pos x="72" y="4"/>
                </a:cxn>
                <a:cxn ang="0">
                  <a:pos x="58" y="0"/>
                </a:cxn>
                <a:cxn ang="0">
                  <a:pos x="42" y="0"/>
                </a:cxn>
                <a:cxn ang="0">
                  <a:pos x="27" y="0"/>
                </a:cxn>
                <a:cxn ang="0">
                  <a:pos x="11" y="2"/>
                </a:cxn>
                <a:cxn ang="0">
                  <a:pos x="11" y="2"/>
                </a:cxn>
                <a:cxn ang="0">
                  <a:pos x="15" y="14"/>
                </a:cxn>
                <a:cxn ang="0">
                  <a:pos x="17" y="26"/>
                </a:cxn>
                <a:cxn ang="0">
                  <a:pos x="11" y="131"/>
                </a:cxn>
                <a:cxn ang="0">
                  <a:pos x="11" y="131"/>
                </a:cxn>
                <a:cxn ang="0">
                  <a:pos x="9" y="141"/>
                </a:cxn>
                <a:cxn ang="0">
                  <a:pos x="7" y="149"/>
                </a:cxn>
                <a:cxn ang="0">
                  <a:pos x="5" y="155"/>
                </a:cxn>
                <a:cxn ang="0">
                  <a:pos x="0" y="161"/>
                </a:cxn>
                <a:cxn ang="0">
                  <a:pos x="5" y="241"/>
                </a:cxn>
                <a:cxn ang="0">
                  <a:pos x="5" y="241"/>
                </a:cxn>
                <a:cxn ang="0">
                  <a:pos x="7" y="245"/>
                </a:cxn>
                <a:cxn ang="0">
                  <a:pos x="13" y="247"/>
                </a:cxn>
                <a:cxn ang="0">
                  <a:pos x="66" y="247"/>
                </a:cxn>
                <a:cxn ang="0">
                  <a:pos x="66" y="247"/>
                </a:cxn>
                <a:cxn ang="0">
                  <a:pos x="66" y="247"/>
                </a:cxn>
                <a:cxn ang="0">
                  <a:pos x="72" y="245"/>
                </a:cxn>
                <a:cxn ang="0">
                  <a:pos x="74" y="241"/>
                </a:cxn>
                <a:cxn ang="0">
                  <a:pos x="76" y="207"/>
                </a:cxn>
              </a:cxnLst>
              <a:rect l="0" t="0" r="r" b="b"/>
              <a:pathLst>
                <a:path w="103" h="247">
                  <a:moveTo>
                    <a:pt x="78" y="174"/>
                  </a:moveTo>
                  <a:lnTo>
                    <a:pt x="80" y="141"/>
                  </a:lnTo>
                  <a:lnTo>
                    <a:pt x="87" y="139"/>
                  </a:lnTo>
                  <a:lnTo>
                    <a:pt x="87" y="139"/>
                  </a:lnTo>
                  <a:lnTo>
                    <a:pt x="93" y="137"/>
                  </a:lnTo>
                  <a:lnTo>
                    <a:pt x="95" y="133"/>
                  </a:lnTo>
                  <a:lnTo>
                    <a:pt x="97" y="127"/>
                  </a:lnTo>
                  <a:lnTo>
                    <a:pt x="99" y="122"/>
                  </a:lnTo>
                  <a:lnTo>
                    <a:pt x="103" y="36"/>
                  </a:lnTo>
                  <a:lnTo>
                    <a:pt x="103" y="36"/>
                  </a:lnTo>
                  <a:lnTo>
                    <a:pt x="103" y="30"/>
                  </a:lnTo>
                  <a:lnTo>
                    <a:pt x="101" y="26"/>
                  </a:lnTo>
                  <a:lnTo>
                    <a:pt x="95" y="16"/>
                  </a:lnTo>
                  <a:lnTo>
                    <a:pt x="85" y="10"/>
                  </a:lnTo>
                  <a:lnTo>
                    <a:pt x="72" y="4"/>
                  </a:lnTo>
                  <a:lnTo>
                    <a:pt x="58" y="0"/>
                  </a:lnTo>
                  <a:lnTo>
                    <a:pt x="42" y="0"/>
                  </a:lnTo>
                  <a:lnTo>
                    <a:pt x="27" y="0"/>
                  </a:lnTo>
                  <a:lnTo>
                    <a:pt x="11" y="2"/>
                  </a:lnTo>
                  <a:lnTo>
                    <a:pt x="11" y="2"/>
                  </a:lnTo>
                  <a:lnTo>
                    <a:pt x="15" y="14"/>
                  </a:lnTo>
                  <a:lnTo>
                    <a:pt x="17" y="26"/>
                  </a:lnTo>
                  <a:lnTo>
                    <a:pt x="11" y="131"/>
                  </a:lnTo>
                  <a:lnTo>
                    <a:pt x="11" y="131"/>
                  </a:lnTo>
                  <a:lnTo>
                    <a:pt x="9" y="141"/>
                  </a:lnTo>
                  <a:lnTo>
                    <a:pt x="7" y="149"/>
                  </a:lnTo>
                  <a:lnTo>
                    <a:pt x="5" y="155"/>
                  </a:lnTo>
                  <a:lnTo>
                    <a:pt x="0" y="161"/>
                  </a:lnTo>
                  <a:lnTo>
                    <a:pt x="5" y="241"/>
                  </a:lnTo>
                  <a:lnTo>
                    <a:pt x="5" y="241"/>
                  </a:lnTo>
                  <a:lnTo>
                    <a:pt x="7" y="245"/>
                  </a:lnTo>
                  <a:lnTo>
                    <a:pt x="13" y="247"/>
                  </a:lnTo>
                  <a:lnTo>
                    <a:pt x="66" y="247"/>
                  </a:lnTo>
                  <a:lnTo>
                    <a:pt x="66" y="247"/>
                  </a:lnTo>
                  <a:lnTo>
                    <a:pt x="66" y="247"/>
                  </a:lnTo>
                  <a:lnTo>
                    <a:pt x="72" y="245"/>
                  </a:lnTo>
                  <a:lnTo>
                    <a:pt x="74" y="241"/>
                  </a:lnTo>
                  <a:lnTo>
                    <a:pt x="76" y="20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9"/>
            <p:cNvSpPr>
              <a:spLocks/>
            </p:cNvSpPr>
            <p:nvPr/>
          </p:nvSpPr>
          <p:spPr bwMode="auto">
            <a:xfrm>
              <a:off x="2057" y="3614"/>
              <a:ext cx="34" cy="40"/>
            </a:xfrm>
            <a:custGeom>
              <a:avLst/>
              <a:gdLst/>
              <a:ahLst/>
              <a:cxnLst>
                <a:cxn ang="0">
                  <a:pos x="0" y="25"/>
                </a:cxn>
                <a:cxn ang="0">
                  <a:pos x="0" y="25"/>
                </a:cxn>
                <a:cxn ang="0">
                  <a:pos x="0" y="19"/>
                </a:cxn>
                <a:cxn ang="0">
                  <a:pos x="4" y="13"/>
                </a:cxn>
                <a:cxn ang="0">
                  <a:pos x="6" y="9"/>
                </a:cxn>
                <a:cxn ang="0">
                  <a:pos x="12" y="5"/>
                </a:cxn>
                <a:cxn ang="0">
                  <a:pos x="22" y="2"/>
                </a:cxn>
                <a:cxn ang="0">
                  <a:pos x="34" y="0"/>
                </a:cxn>
                <a:cxn ang="0">
                  <a:pos x="34" y="0"/>
                </a:cxn>
                <a:cxn ang="0">
                  <a:pos x="47" y="2"/>
                </a:cxn>
                <a:cxn ang="0">
                  <a:pos x="57" y="5"/>
                </a:cxn>
                <a:cxn ang="0">
                  <a:pos x="61" y="9"/>
                </a:cxn>
                <a:cxn ang="0">
                  <a:pos x="65" y="13"/>
                </a:cxn>
                <a:cxn ang="0">
                  <a:pos x="67" y="19"/>
                </a:cxn>
                <a:cxn ang="0">
                  <a:pos x="69" y="25"/>
                </a:cxn>
                <a:cxn ang="0">
                  <a:pos x="69" y="25"/>
                </a:cxn>
                <a:cxn ang="0">
                  <a:pos x="67" y="44"/>
                </a:cxn>
                <a:cxn ang="0">
                  <a:pos x="65" y="56"/>
                </a:cxn>
                <a:cxn ang="0">
                  <a:pos x="63" y="64"/>
                </a:cxn>
                <a:cxn ang="0">
                  <a:pos x="63" y="64"/>
                </a:cxn>
                <a:cxn ang="0">
                  <a:pos x="59" y="68"/>
                </a:cxn>
                <a:cxn ang="0">
                  <a:pos x="53" y="74"/>
                </a:cxn>
                <a:cxn ang="0">
                  <a:pos x="47" y="78"/>
                </a:cxn>
                <a:cxn ang="0">
                  <a:pos x="39" y="80"/>
                </a:cxn>
                <a:cxn ang="0">
                  <a:pos x="39" y="80"/>
                </a:cxn>
                <a:cxn ang="0">
                  <a:pos x="30" y="80"/>
                </a:cxn>
                <a:cxn ang="0">
                  <a:pos x="30" y="80"/>
                </a:cxn>
                <a:cxn ang="0">
                  <a:pos x="22" y="78"/>
                </a:cxn>
                <a:cxn ang="0">
                  <a:pos x="14" y="74"/>
                </a:cxn>
                <a:cxn ang="0">
                  <a:pos x="10" y="68"/>
                </a:cxn>
                <a:cxn ang="0">
                  <a:pos x="6" y="64"/>
                </a:cxn>
                <a:cxn ang="0">
                  <a:pos x="6" y="64"/>
                </a:cxn>
                <a:cxn ang="0">
                  <a:pos x="2" y="56"/>
                </a:cxn>
                <a:cxn ang="0">
                  <a:pos x="0" y="44"/>
                </a:cxn>
                <a:cxn ang="0">
                  <a:pos x="0" y="25"/>
                </a:cxn>
                <a:cxn ang="0">
                  <a:pos x="0" y="25"/>
                </a:cxn>
              </a:cxnLst>
              <a:rect l="0" t="0" r="r" b="b"/>
              <a:pathLst>
                <a:path w="69" h="80">
                  <a:moveTo>
                    <a:pt x="0" y="25"/>
                  </a:moveTo>
                  <a:lnTo>
                    <a:pt x="0" y="25"/>
                  </a:lnTo>
                  <a:lnTo>
                    <a:pt x="0" y="19"/>
                  </a:lnTo>
                  <a:lnTo>
                    <a:pt x="4" y="13"/>
                  </a:lnTo>
                  <a:lnTo>
                    <a:pt x="6" y="9"/>
                  </a:lnTo>
                  <a:lnTo>
                    <a:pt x="12" y="5"/>
                  </a:lnTo>
                  <a:lnTo>
                    <a:pt x="22" y="2"/>
                  </a:lnTo>
                  <a:lnTo>
                    <a:pt x="34" y="0"/>
                  </a:lnTo>
                  <a:lnTo>
                    <a:pt x="34" y="0"/>
                  </a:lnTo>
                  <a:lnTo>
                    <a:pt x="47" y="2"/>
                  </a:lnTo>
                  <a:lnTo>
                    <a:pt x="57" y="5"/>
                  </a:lnTo>
                  <a:lnTo>
                    <a:pt x="61" y="9"/>
                  </a:lnTo>
                  <a:lnTo>
                    <a:pt x="65" y="13"/>
                  </a:lnTo>
                  <a:lnTo>
                    <a:pt x="67" y="19"/>
                  </a:lnTo>
                  <a:lnTo>
                    <a:pt x="69" y="25"/>
                  </a:lnTo>
                  <a:lnTo>
                    <a:pt x="69" y="25"/>
                  </a:lnTo>
                  <a:lnTo>
                    <a:pt x="67" y="44"/>
                  </a:lnTo>
                  <a:lnTo>
                    <a:pt x="65" y="56"/>
                  </a:lnTo>
                  <a:lnTo>
                    <a:pt x="63" y="64"/>
                  </a:lnTo>
                  <a:lnTo>
                    <a:pt x="63" y="64"/>
                  </a:lnTo>
                  <a:lnTo>
                    <a:pt x="59" y="68"/>
                  </a:lnTo>
                  <a:lnTo>
                    <a:pt x="53" y="74"/>
                  </a:lnTo>
                  <a:lnTo>
                    <a:pt x="47" y="78"/>
                  </a:lnTo>
                  <a:lnTo>
                    <a:pt x="39" y="80"/>
                  </a:lnTo>
                  <a:lnTo>
                    <a:pt x="39" y="80"/>
                  </a:lnTo>
                  <a:lnTo>
                    <a:pt x="30" y="80"/>
                  </a:lnTo>
                  <a:lnTo>
                    <a:pt x="30" y="80"/>
                  </a:lnTo>
                  <a:lnTo>
                    <a:pt x="22" y="78"/>
                  </a:lnTo>
                  <a:lnTo>
                    <a:pt x="14" y="74"/>
                  </a:lnTo>
                  <a:lnTo>
                    <a:pt x="10" y="68"/>
                  </a:lnTo>
                  <a:lnTo>
                    <a:pt x="6" y="64"/>
                  </a:lnTo>
                  <a:lnTo>
                    <a:pt x="6" y="64"/>
                  </a:lnTo>
                  <a:lnTo>
                    <a:pt x="2" y="56"/>
                  </a:lnTo>
                  <a:lnTo>
                    <a:pt x="0" y="44"/>
                  </a:lnTo>
                  <a:lnTo>
                    <a:pt x="0" y="25"/>
                  </a:lnTo>
                  <a:lnTo>
                    <a:pt x="0" y="2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p:cNvSpPr>
            <p:nvPr/>
          </p:nvSpPr>
          <p:spPr bwMode="auto">
            <a:xfrm>
              <a:off x="1988" y="3649"/>
              <a:ext cx="65" cy="154"/>
            </a:xfrm>
            <a:custGeom>
              <a:avLst/>
              <a:gdLst/>
              <a:ahLst/>
              <a:cxnLst>
                <a:cxn ang="0">
                  <a:pos x="93" y="262"/>
                </a:cxn>
                <a:cxn ang="0">
                  <a:pos x="92" y="301"/>
                </a:cxn>
                <a:cxn ang="0">
                  <a:pos x="92" y="301"/>
                </a:cxn>
                <a:cxn ang="0">
                  <a:pos x="88" y="307"/>
                </a:cxn>
                <a:cxn ang="0">
                  <a:pos x="86" y="309"/>
                </a:cxn>
                <a:cxn ang="0">
                  <a:pos x="82" y="309"/>
                </a:cxn>
                <a:cxn ang="0">
                  <a:pos x="82" y="309"/>
                </a:cxn>
                <a:cxn ang="0">
                  <a:pos x="15" y="309"/>
                </a:cxn>
                <a:cxn ang="0">
                  <a:pos x="15" y="309"/>
                </a:cxn>
                <a:cxn ang="0">
                  <a:pos x="11" y="309"/>
                </a:cxn>
                <a:cxn ang="0">
                  <a:pos x="10" y="307"/>
                </a:cxn>
                <a:cxn ang="0">
                  <a:pos x="8" y="303"/>
                </a:cxn>
                <a:cxn ang="0">
                  <a:pos x="6" y="301"/>
                </a:cxn>
                <a:cxn ang="0">
                  <a:pos x="0" y="201"/>
                </a:cxn>
                <a:cxn ang="0">
                  <a:pos x="0" y="201"/>
                </a:cxn>
                <a:cxn ang="0">
                  <a:pos x="4" y="193"/>
                </a:cxn>
                <a:cxn ang="0">
                  <a:pos x="8" y="185"/>
                </a:cxn>
                <a:cxn ang="0">
                  <a:pos x="10" y="176"/>
                </a:cxn>
                <a:cxn ang="0">
                  <a:pos x="11" y="166"/>
                </a:cxn>
                <a:cxn ang="0">
                  <a:pos x="17" y="31"/>
                </a:cxn>
                <a:cxn ang="0">
                  <a:pos x="17" y="31"/>
                </a:cxn>
                <a:cxn ang="0">
                  <a:pos x="17" y="16"/>
                </a:cxn>
                <a:cxn ang="0">
                  <a:pos x="13" y="4"/>
                </a:cxn>
                <a:cxn ang="0">
                  <a:pos x="13" y="4"/>
                </a:cxn>
                <a:cxn ang="0">
                  <a:pos x="33" y="0"/>
                </a:cxn>
                <a:cxn ang="0">
                  <a:pos x="52" y="0"/>
                </a:cxn>
                <a:cxn ang="0">
                  <a:pos x="72" y="0"/>
                </a:cxn>
                <a:cxn ang="0">
                  <a:pos x="90" y="4"/>
                </a:cxn>
                <a:cxn ang="0">
                  <a:pos x="105" y="12"/>
                </a:cxn>
                <a:cxn ang="0">
                  <a:pos x="119" y="19"/>
                </a:cxn>
                <a:cxn ang="0">
                  <a:pos x="123" y="25"/>
                </a:cxn>
                <a:cxn ang="0">
                  <a:pos x="127" y="31"/>
                </a:cxn>
                <a:cxn ang="0">
                  <a:pos x="129" y="37"/>
                </a:cxn>
                <a:cxn ang="0">
                  <a:pos x="129" y="45"/>
                </a:cxn>
                <a:cxn ang="0">
                  <a:pos x="123" y="150"/>
                </a:cxn>
                <a:cxn ang="0">
                  <a:pos x="123" y="150"/>
                </a:cxn>
                <a:cxn ang="0">
                  <a:pos x="123" y="158"/>
                </a:cxn>
                <a:cxn ang="0">
                  <a:pos x="119" y="164"/>
                </a:cxn>
                <a:cxn ang="0">
                  <a:pos x="115" y="170"/>
                </a:cxn>
                <a:cxn ang="0">
                  <a:pos x="109" y="172"/>
                </a:cxn>
                <a:cxn ang="0">
                  <a:pos x="99" y="176"/>
                </a:cxn>
                <a:cxn ang="0">
                  <a:pos x="97" y="217"/>
                </a:cxn>
              </a:cxnLst>
              <a:rect l="0" t="0" r="r" b="b"/>
              <a:pathLst>
                <a:path w="129" h="309">
                  <a:moveTo>
                    <a:pt x="93" y="262"/>
                  </a:moveTo>
                  <a:lnTo>
                    <a:pt x="92" y="301"/>
                  </a:lnTo>
                  <a:lnTo>
                    <a:pt x="92" y="301"/>
                  </a:lnTo>
                  <a:lnTo>
                    <a:pt x="88" y="307"/>
                  </a:lnTo>
                  <a:lnTo>
                    <a:pt x="86" y="309"/>
                  </a:lnTo>
                  <a:lnTo>
                    <a:pt x="82" y="309"/>
                  </a:lnTo>
                  <a:lnTo>
                    <a:pt x="82" y="309"/>
                  </a:lnTo>
                  <a:lnTo>
                    <a:pt x="15" y="309"/>
                  </a:lnTo>
                  <a:lnTo>
                    <a:pt x="15" y="309"/>
                  </a:lnTo>
                  <a:lnTo>
                    <a:pt x="11" y="309"/>
                  </a:lnTo>
                  <a:lnTo>
                    <a:pt x="10" y="307"/>
                  </a:lnTo>
                  <a:lnTo>
                    <a:pt x="8" y="303"/>
                  </a:lnTo>
                  <a:lnTo>
                    <a:pt x="6" y="301"/>
                  </a:lnTo>
                  <a:lnTo>
                    <a:pt x="0" y="201"/>
                  </a:lnTo>
                  <a:lnTo>
                    <a:pt x="0" y="201"/>
                  </a:lnTo>
                  <a:lnTo>
                    <a:pt x="4" y="193"/>
                  </a:lnTo>
                  <a:lnTo>
                    <a:pt x="8" y="185"/>
                  </a:lnTo>
                  <a:lnTo>
                    <a:pt x="10" y="176"/>
                  </a:lnTo>
                  <a:lnTo>
                    <a:pt x="11" y="166"/>
                  </a:lnTo>
                  <a:lnTo>
                    <a:pt x="17" y="31"/>
                  </a:lnTo>
                  <a:lnTo>
                    <a:pt x="17" y="31"/>
                  </a:lnTo>
                  <a:lnTo>
                    <a:pt x="17" y="16"/>
                  </a:lnTo>
                  <a:lnTo>
                    <a:pt x="13" y="4"/>
                  </a:lnTo>
                  <a:lnTo>
                    <a:pt x="13" y="4"/>
                  </a:lnTo>
                  <a:lnTo>
                    <a:pt x="33" y="0"/>
                  </a:lnTo>
                  <a:lnTo>
                    <a:pt x="52" y="0"/>
                  </a:lnTo>
                  <a:lnTo>
                    <a:pt x="72" y="0"/>
                  </a:lnTo>
                  <a:lnTo>
                    <a:pt x="90" y="4"/>
                  </a:lnTo>
                  <a:lnTo>
                    <a:pt x="105" y="12"/>
                  </a:lnTo>
                  <a:lnTo>
                    <a:pt x="119" y="19"/>
                  </a:lnTo>
                  <a:lnTo>
                    <a:pt x="123" y="25"/>
                  </a:lnTo>
                  <a:lnTo>
                    <a:pt x="127" y="31"/>
                  </a:lnTo>
                  <a:lnTo>
                    <a:pt x="129" y="37"/>
                  </a:lnTo>
                  <a:lnTo>
                    <a:pt x="129" y="45"/>
                  </a:lnTo>
                  <a:lnTo>
                    <a:pt x="123" y="150"/>
                  </a:lnTo>
                  <a:lnTo>
                    <a:pt x="123" y="150"/>
                  </a:lnTo>
                  <a:lnTo>
                    <a:pt x="123" y="158"/>
                  </a:lnTo>
                  <a:lnTo>
                    <a:pt x="119" y="164"/>
                  </a:lnTo>
                  <a:lnTo>
                    <a:pt x="115" y="170"/>
                  </a:lnTo>
                  <a:lnTo>
                    <a:pt x="109" y="172"/>
                  </a:lnTo>
                  <a:lnTo>
                    <a:pt x="99" y="176"/>
                  </a:lnTo>
                  <a:lnTo>
                    <a:pt x="97" y="21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1"/>
            <p:cNvSpPr>
              <a:spLocks/>
            </p:cNvSpPr>
            <p:nvPr/>
          </p:nvSpPr>
          <p:spPr bwMode="auto">
            <a:xfrm>
              <a:off x="1991" y="3592"/>
              <a:ext cx="43" cy="51"/>
            </a:xfrm>
            <a:custGeom>
              <a:avLst/>
              <a:gdLst/>
              <a:ahLst/>
              <a:cxnLst>
                <a:cxn ang="0">
                  <a:pos x="0" y="33"/>
                </a:cxn>
                <a:cxn ang="0">
                  <a:pos x="0" y="33"/>
                </a:cxn>
                <a:cxn ang="0">
                  <a:pos x="2" y="25"/>
                </a:cxn>
                <a:cxn ang="0">
                  <a:pos x="4" y="19"/>
                </a:cxn>
                <a:cxn ang="0">
                  <a:pos x="9" y="13"/>
                </a:cxn>
                <a:cxn ang="0">
                  <a:pos x="13" y="7"/>
                </a:cxn>
                <a:cxn ang="0">
                  <a:pos x="21" y="5"/>
                </a:cxn>
                <a:cxn ang="0">
                  <a:pos x="27" y="2"/>
                </a:cxn>
                <a:cxn ang="0">
                  <a:pos x="43" y="0"/>
                </a:cxn>
                <a:cxn ang="0">
                  <a:pos x="43" y="0"/>
                </a:cxn>
                <a:cxn ang="0">
                  <a:pos x="58" y="2"/>
                </a:cxn>
                <a:cxn ang="0">
                  <a:pos x="66" y="5"/>
                </a:cxn>
                <a:cxn ang="0">
                  <a:pos x="72" y="7"/>
                </a:cxn>
                <a:cxn ang="0">
                  <a:pos x="78" y="13"/>
                </a:cxn>
                <a:cxn ang="0">
                  <a:pos x="82" y="19"/>
                </a:cxn>
                <a:cxn ang="0">
                  <a:pos x="84" y="25"/>
                </a:cxn>
                <a:cxn ang="0">
                  <a:pos x="86" y="33"/>
                </a:cxn>
                <a:cxn ang="0">
                  <a:pos x="86" y="33"/>
                </a:cxn>
                <a:cxn ang="0">
                  <a:pos x="86" y="43"/>
                </a:cxn>
                <a:cxn ang="0">
                  <a:pos x="86" y="56"/>
                </a:cxn>
                <a:cxn ang="0">
                  <a:pos x="82" y="70"/>
                </a:cxn>
                <a:cxn ang="0">
                  <a:pos x="78" y="80"/>
                </a:cxn>
                <a:cxn ang="0">
                  <a:pos x="78" y="80"/>
                </a:cxn>
                <a:cxn ang="0">
                  <a:pos x="74" y="87"/>
                </a:cxn>
                <a:cxn ang="0">
                  <a:pos x="68" y="93"/>
                </a:cxn>
                <a:cxn ang="0">
                  <a:pos x="58" y="97"/>
                </a:cxn>
                <a:cxn ang="0">
                  <a:pos x="50" y="101"/>
                </a:cxn>
                <a:cxn ang="0">
                  <a:pos x="50" y="101"/>
                </a:cxn>
                <a:cxn ang="0">
                  <a:pos x="43" y="101"/>
                </a:cxn>
                <a:cxn ang="0">
                  <a:pos x="37" y="101"/>
                </a:cxn>
                <a:cxn ang="0">
                  <a:pos x="37" y="101"/>
                </a:cxn>
                <a:cxn ang="0">
                  <a:pos x="27" y="97"/>
                </a:cxn>
                <a:cxn ang="0">
                  <a:pos x="19" y="93"/>
                </a:cxn>
                <a:cxn ang="0">
                  <a:pos x="11" y="87"/>
                </a:cxn>
                <a:cxn ang="0">
                  <a:pos x="7" y="80"/>
                </a:cxn>
                <a:cxn ang="0">
                  <a:pos x="7" y="80"/>
                </a:cxn>
                <a:cxn ang="0">
                  <a:pos x="4" y="70"/>
                </a:cxn>
                <a:cxn ang="0">
                  <a:pos x="2" y="56"/>
                </a:cxn>
                <a:cxn ang="0">
                  <a:pos x="0" y="43"/>
                </a:cxn>
                <a:cxn ang="0">
                  <a:pos x="0" y="33"/>
                </a:cxn>
                <a:cxn ang="0">
                  <a:pos x="0" y="33"/>
                </a:cxn>
              </a:cxnLst>
              <a:rect l="0" t="0" r="r" b="b"/>
              <a:pathLst>
                <a:path w="86" h="101">
                  <a:moveTo>
                    <a:pt x="0" y="33"/>
                  </a:moveTo>
                  <a:lnTo>
                    <a:pt x="0" y="33"/>
                  </a:lnTo>
                  <a:lnTo>
                    <a:pt x="2" y="25"/>
                  </a:lnTo>
                  <a:lnTo>
                    <a:pt x="4" y="19"/>
                  </a:lnTo>
                  <a:lnTo>
                    <a:pt x="9" y="13"/>
                  </a:lnTo>
                  <a:lnTo>
                    <a:pt x="13" y="7"/>
                  </a:lnTo>
                  <a:lnTo>
                    <a:pt x="21" y="5"/>
                  </a:lnTo>
                  <a:lnTo>
                    <a:pt x="27" y="2"/>
                  </a:lnTo>
                  <a:lnTo>
                    <a:pt x="43" y="0"/>
                  </a:lnTo>
                  <a:lnTo>
                    <a:pt x="43" y="0"/>
                  </a:lnTo>
                  <a:lnTo>
                    <a:pt x="58" y="2"/>
                  </a:lnTo>
                  <a:lnTo>
                    <a:pt x="66" y="5"/>
                  </a:lnTo>
                  <a:lnTo>
                    <a:pt x="72" y="7"/>
                  </a:lnTo>
                  <a:lnTo>
                    <a:pt x="78" y="13"/>
                  </a:lnTo>
                  <a:lnTo>
                    <a:pt x="82" y="19"/>
                  </a:lnTo>
                  <a:lnTo>
                    <a:pt x="84" y="25"/>
                  </a:lnTo>
                  <a:lnTo>
                    <a:pt x="86" y="33"/>
                  </a:lnTo>
                  <a:lnTo>
                    <a:pt x="86" y="33"/>
                  </a:lnTo>
                  <a:lnTo>
                    <a:pt x="86" y="43"/>
                  </a:lnTo>
                  <a:lnTo>
                    <a:pt x="86" y="56"/>
                  </a:lnTo>
                  <a:lnTo>
                    <a:pt x="82" y="70"/>
                  </a:lnTo>
                  <a:lnTo>
                    <a:pt x="78" y="80"/>
                  </a:lnTo>
                  <a:lnTo>
                    <a:pt x="78" y="80"/>
                  </a:lnTo>
                  <a:lnTo>
                    <a:pt x="74" y="87"/>
                  </a:lnTo>
                  <a:lnTo>
                    <a:pt x="68" y="93"/>
                  </a:lnTo>
                  <a:lnTo>
                    <a:pt x="58" y="97"/>
                  </a:lnTo>
                  <a:lnTo>
                    <a:pt x="50" y="101"/>
                  </a:lnTo>
                  <a:lnTo>
                    <a:pt x="50" y="101"/>
                  </a:lnTo>
                  <a:lnTo>
                    <a:pt x="43" y="101"/>
                  </a:lnTo>
                  <a:lnTo>
                    <a:pt x="37" y="101"/>
                  </a:lnTo>
                  <a:lnTo>
                    <a:pt x="37" y="101"/>
                  </a:lnTo>
                  <a:lnTo>
                    <a:pt x="27" y="97"/>
                  </a:lnTo>
                  <a:lnTo>
                    <a:pt x="19" y="93"/>
                  </a:lnTo>
                  <a:lnTo>
                    <a:pt x="11" y="87"/>
                  </a:lnTo>
                  <a:lnTo>
                    <a:pt x="7" y="80"/>
                  </a:lnTo>
                  <a:lnTo>
                    <a:pt x="7" y="80"/>
                  </a:lnTo>
                  <a:lnTo>
                    <a:pt x="4" y="70"/>
                  </a:lnTo>
                  <a:lnTo>
                    <a:pt x="2" y="56"/>
                  </a:lnTo>
                  <a:lnTo>
                    <a:pt x="0" y="43"/>
                  </a:lnTo>
                  <a:lnTo>
                    <a:pt x="0" y="33"/>
                  </a:lnTo>
                  <a:lnTo>
                    <a:pt x="0" y="33"/>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2"/>
            <p:cNvSpPr>
              <a:spLocks/>
            </p:cNvSpPr>
            <p:nvPr/>
          </p:nvSpPr>
          <p:spPr bwMode="auto">
            <a:xfrm>
              <a:off x="1817" y="3649"/>
              <a:ext cx="64" cy="154"/>
            </a:xfrm>
            <a:custGeom>
              <a:avLst/>
              <a:gdLst/>
              <a:ahLst/>
              <a:cxnLst>
                <a:cxn ang="0">
                  <a:pos x="33" y="219"/>
                </a:cxn>
                <a:cxn ang="0">
                  <a:pos x="29" y="176"/>
                </a:cxn>
                <a:cxn ang="0">
                  <a:pos x="22" y="172"/>
                </a:cxn>
                <a:cxn ang="0">
                  <a:pos x="22" y="172"/>
                </a:cxn>
                <a:cxn ang="0">
                  <a:pos x="14" y="170"/>
                </a:cxn>
                <a:cxn ang="0">
                  <a:pos x="10" y="164"/>
                </a:cxn>
                <a:cxn ang="0">
                  <a:pos x="8" y="158"/>
                </a:cxn>
                <a:cxn ang="0">
                  <a:pos x="6" y="150"/>
                </a:cxn>
                <a:cxn ang="0">
                  <a:pos x="0" y="45"/>
                </a:cxn>
                <a:cxn ang="0">
                  <a:pos x="0" y="45"/>
                </a:cxn>
                <a:cxn ang="0">
                  <a:pos x="0" y="37"/>
                </a:cxn>
                <a:cxn ang="0">
                  <a:pos x="2" y="31"/>
                </a:cxn>
                <a:cxn ang="0">
                  <a:pos x="6" y="25"/>
                </a:cxn>
                <a:cxn ang="0">
                  <a:pos x="10" y="21"/>
                </a:cxn>
                <a:cxn ang="0">
                  <a:pos x="22" y="12"/>
                </a:cxn>
                <a:cxn ang="0">
                  <a:pos x="35" y="6"/>
                </a:cxn>
                <a:cxn ang="0">
                  <a:pos x="53" y="2"/>
                </a:cxn>
                <a:cxn ang="0">
                  <a:pos x="70" y="0"/>
                </a:cxn>
                <a:cxn ang="0">
                  <a:pos x="90" y="0"/>
                </a:cxn>
                <a:cxn ang="0">
                  <a:pos x="110" y="2"/>
                </a:cxn>
                <a:cxn ang="0">
                  <a:pos x="110" y="2"/>
                </a:cxn>
                <a:cxn ang="0">
                  <a:pos x="104" y="16"/>
                </a:cxn>
                <a:cxn ang="0">
                  <a:pos x="104" y="31"/>
                </a:cxn>
                <a:cxn ang="0">
                  <a:pos x="111" y="166"/>
                </a:cxn>
                <a:cxn ang="0">
                  <a:pos x="111" y="166"/>
                </a:cxn>
                <a:cxn ang="0">
                  <a:pos x="113" y="180"/>
                </a:cxn>
                <a:cxn ang="0">
                  <a:pos x="115" y="191"/>
                </a:cxn>
                <a:cxn ang="0">
                  <a:pos x="121" y="201"/>
                </a:cxn>
                <a:cxn ang="0">
                  <a:pos x="129" y="209"/>
                </a:cxn>
                <a:cxn ang="0">
                  <a:pos x="123" y="301"/>
                </a:cxn>
                <a:cxn ang="0">
                  <a:pos x="123" y="301"/>
                </a:cxn>
                <a:cxn ang="0">
                  <a:pos x="119" y="307"/>
                </a:cxn>
                <a:cxn ang="0">
                  <a:pos x="117" y="309"/>
                </a:cxn>
                <a:cxn ang="0">
                  <a:pos x="113" y="309"/>
                </a:cxn>
                <a:cxn ang="0">
                  <a:pos x="47" y="309"/>
                </a:cxn>
                <a:cxn ang="0">
                  <a:pos x="47" y="309"/>
                </a:cxn>
                <a:cxn ang="0">
                  <a:pos x="47" y="309"/>
                </a:cxn>
                <a:cxn ang="0">
                  <a:pos x="43" y="309"/>
                </a:cxn>
                <a:cxn ang="0">
                  <a:pos x="41" y="307"/>
                </a:cxn>
                <a:cxn ang="0">
                  <a:pos x="39" y="303"/>
                </a:cxn>
                <a:cxn ang="0">
                  <a:pos x="37" y="301"/>
                </a:cxn>
                <a:cxn ang="0">
                  <a:pos x="35" y="267"/>
                </a:cxn>
              </a:cxnLst>
              <a:rect l="0" t="0" r="r" b="b"/>
              <a:pathLst>
                <a:path w="129" h="309">
                  <a:moveTo>
                    <a:pt x="33" y="219"/>
                  </a:moveTo>
                  <a:lnTo>
                    <a:pt x="29" y="176"/>
                  </a:lnTo>
                  <a:lnTo>
                    <a:pt x="22" y="172"/>
                  </a:lnTo>
                  <a:lnTo>
                    <a:pt x="22" y="172"/>
                  </a:lnTo>
                  <a:lnTo>
                    <a:pt x="14" y="170"/>
                  </a:lnTo>
                  <a:lnTo>
                    <a:pt x="10" y="164"/>
                  </a:lnTo>
                  <a:lnTo>
                    <a:pt x="8" y="158"/>
                  </a:lnTo>
                  <a:lnTo>
                    <a:pt x="6" y="150"/>
                  </a:lnTo>
                  <a:lnTo>
                    <a:pt x="0" y="45"/>
                  </a:lnTo>
                  <a:lnTo>
                    <a:pt x="0" y="45"/>
                  </a:lnTo>
                  <a:lnTo>
                    <a:pt x="0" y="37"/>
                  </a:lnTo>
                  <a:lnTo>
                    <a:pt x="2" y="31"/>
                  </a:lnTo>
                  <a:lnTo>
                    <a:pt x="6" y="25"/>
                  </a:lnTo>
                  <a:lnTo>
                    <a:pt x="10" y="21"/>
                  </a:lnTo>
                  <a:lnTo>
                    <a:pt x="22" y="12"/>
                  </a:lnTo>
                  <a:lnTo>
                    <a:pt x="35" y="6"/>
                  </a:lnTo>
                  <a:lnTo>
                    <a:pt x="53" y="2"/>
                  </a:lnTo>
                  <a:lnTo>
                    <a:pt x="70" y="0"/>
                  </a:lnTo>
                  <a:lnTo>
                    <a:pt x="90" y="0"/>
                  </a:lnTo>
                  <a:lnTo>
                    <a:pt x="110" y="2"/>
                  </a:lnTo>
                  <a:lnTo>
                    <a:pt x="110" y="2"/>
                  </a:lnTo>
                  <a:lnTo>
                    <a:pt x="104" y="16"/>
                  </a:lnTo>
                  <a:lnTo>
                    <a:pt x="104" y="31"/>
                  </a:lnTo>
                  <a:lnTo>
                    <a:pt x="111" y="166"/>
                  </a:lnTo>
                  <a:lnTo>
                    <a:pt x="111" y="166"/>
                  </a:lnTo>
                  <a:lnTo>
                    <a:pt x="113" y="180"/>
                  </a:lnTo>
                  <a:lnTo>
                    <a:pt x="115" y="191"/>
                  </a:lnTo>
                  <a:lnTo>
                    <a:pt x="121" y="201"/>
                  </a:lnTo>
                  <a:lnTo>
                    <a:pt x="129" y="209"/>
                  </a:lnTo>
                  <a:lnTo>
                    <a:pt x="123" y="301"/>
                  </a:lnTo>
                  <a:lnTo>
                    <a:pt x="123" y="301"/>
                  </a:lnTo>
                  <a:lnTo>
                    <a:pt x="119" y="307"/>
                  </a:lnTo>
                  <a:lnTo>
                    <a:pt x="117" y="309"/>
                  </a:lnTo>
                  <a:lnTo>
                    <a:pt x="113" y="309"/>
                  </a:lnTo>
                  <a:lnTo>
                    <a:pt x="47" y="309"/>
                  </a:lnTo>
                  <a:lnTo>
                    <a:pt x="47" y="309"/>
                  </a:lnTo>
                  <a:lnTo>
                    <a:pt x="47" y="309"/>
                  </a:lnTo>
                  <a:lnTo>
                    <a:pt x="43" y="309"/>
                  </a:lnTo>
                  <a:lnTo>
                    <a:pt x="41" y="307"/>
                  </a:lnTo>
                  <a:lnTo>
                    <a:pt x="39" y="303"/>
                  </a:lnTo>
                  <a:lnTo>
                    <a:pt x="37" y="301"/>
                  </a:lnTo>
                  <a:lnTo>
                    <a:pt x="35" y="267"/>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3"/>
            <p:cNvSpPr>
              <a:spLocks/>
            </p:cNvSpPr>
            <p:nvPr/>
          </p:nvSpPr>
          <p:spPr bwMode="auto">
            <a:xfrm>
              <a:off x="1835" y="3592"/>
              <a:ext cx="43" cy="51"/>
            </a:xfrm>
            <a:custGeom>
              <a:avLst/>
              <a:gdLst/>
              <a:ahLst/>
              <a:cxnLst>
                <a:cxn ang="0">
                  <a:pos x="86" y="33"/>
                </a:cxn>
                <a:cxn ang="0">
                  <a:pos x="86" y="33"/>
                </a:cxn>
                <a:cxn ang="0">
                  <a:pos x="84" y="25"/>
                </a:cxn>
                <a:cxn ang="0">
                  <a:pos x="82" y="19"/>
                </a:cxn>
                <a:cxn ang="0">
                  <a:pos x="78" y="13"/>
                </a:cxn>
                <a:cxn ang="0">
                  <a:pos x="73" y="7"/>
                </a:cxn>
                <a:cxn ang="0">
                  <a:pos x="67" y="5"/>
                </a:cxn>
                <a:cxn ang="0">
                  <a:pos x="59" y="2"/>
                </a:cxn>
                <a:cxn ang="0">
                  <a:pos x="43" y="0"/>
                </a:cxn>
                <a:cxn ang="0">
                  <a:pos x="43" y="0"/>
                </a:cxn>
                <a:cxn ang="0">
                  <a:pos x="28" y="2"/>
                </a:cxn>
                <a:cxn ang="0">
                  <a:pos x="22" y="5"/>
                </a:cxn>
                <a:cxn ang="0">
                  <a:pos x="14" y="7"/>
                </a:cxn>
                <a:cxn ang="0">
                  <a:pos x="10" y="13"/>
                </a:cxn>
                <a:cxn ang="0">
                  <a:pos x="4" y="19"/>
                </a:cxn>
                <a:cxn ang="0">
                  <a:pos x="2" y="25"/>
                </a:cxn>
                <a:cxn ang="0">
                  <a:pos x="0" y="33"/>
                </a:cxn>
                <a:cxn ang="0">
                  <a:pos x="0" y="33"/>
                </a:cxn>
                <a:cxn ang="0">
                  <a:pos x="0" y="43"/>
                </a:cxn>
                <a:cxn ang="0">
                  <a:pos x="2" y="56"/>
                </a:cxn>
                <a:cxn ang="0">
                  <a:pos x="4" y="70"/>
                </a:cxn>
                <a:cxn ang="0">
                  <a:pos x="8" y="80"/>
                </a:cxn>
                <a:cxn ang="0">
                  <a:pos x="8" y="80"/>
                </a:cxn>
                <a:cxn ang="0">
                  <a:pos x="12" y="87"/>
                </a:cxn>
                <a:cxn ang="0">
                  <a:pos x="20" y="93"/>
                </a:cxn>
                <a:cxn ang="0">
                  <a:pos x="28" y="97"/>
                </a:cxn>
                <a:cxn ang="0">
                  <a:pos x="37" y="101"/>
                </a:cxn>
                <a:cxn ang="0">
                  <a:pos x="37" y="101"/>
                </a:cxn>
                <a:cxn ang="0">
                  <a:pos x="43" y="101"/>
                </a:cxn>
                <a:cxn ang="0">
                  <a:pos x="51" y="101"/>
                </a:cxn>
                <a:cxn ang="0">
                  <a:pos x="51" y="101"/>
                </a:cxn>
                <a:cxn ang="0">
                  <a:pos x="59" y="97"/>
                </a:cxn>
                <a:cxn ang="0">
                  <a:pos x="69" y="93"/>
                </a:cxn>
                <a:cxn ang="0">
                  <a:pos x="74" y="87"/>
                </a:cxn>
                <a:cxn ang="0">
                  <a:pos x="78" y="80"/>
                </a:cxn>
                <a:cxn ang="0">
                  <a:pos x="78" y="80"/>
                </a:cxn>
                <a:cxn ang="0">
                  <a:pos x="82" y="70"/>
                </a:cxn>
                <a:cxn ang="0">
                  <a:pos x="86" y="56"/>
                </a:cxn>
                <a:cxn ang="0">
                  <a:pos x="86" y="43"/>
                </a:cxn>
                <a:cxn ang="0">
                  <a:pos x="86" y="33"/>
                </a:cxn>
                <a:cxn ang="0">
                  <a:pos x="86" y="33"/>
                </a:cxn>
              </a:cxnLst>
              <a:rect l="0" t="0" r="r" b="b"/>
              <a:pathLst>
                <a:path w="86" h="101">
                  <a:moveTo>
                    <a:pt x="86" y="33"/>
                  </a:moveTo>
                  <a:lnTo>
                    <a:pt x="86" y="33"/>
                  </a:lnTo>
                  <a:lnTo>
                    <a:pt x="84" y="25"/>
                  </a:lnTo>
                  <a:lnTo>
                    <a:pt x="82" y="19"/>
                  </a:lnTo>
                  <a:lnTo>
                    <a:pt x="78" y="13"/>
                  </a:lnTo>
                  <a:lnTo>
                    <a:pt x="73" y="7"/>
                  </a:lnTo>
                  <a:lnTo>
                    <a:pt x="67" y="5"/>
                  </a:lnTo>
                  <a:lnTo>
                    <a:pt x="59" y="2"/>
                  </a:lnTo>
                  <a:lnTo>
                    <a:pt x="43" y="0"/>
                  </a:lnTo>
                  <a:lnTo>
                    <a:pt x="43" y="0"/>
                  </a:lnTo>
                  <a:lnTo>
                    <a:pt x="28" y="2"/>
                  </a:lnTo>
                  <a:lnTo>
                    <a:pt x="22" y="5"/>
                  </a:lnTo>
                  <a:lnTo>
                    <a:pt x="14" y="7"/>
                  </a:lnTo>
                  <a:lnTo>
                    <a:pt x="10" y="13"/>
                  </a:lnTo>
                  <a:lnTo>
                    <a:pt x="4" y="19"/>
                  </a:lnTo>
                  <a:lnTo>
                    <a:pt x="2" y="25"/>
                  </a:lnTo>
                  <a:lnTo>
                    <a:pt x="0" y="33"/>
                  </a:lnTo>
                  <a:lnTo>
                    <a:pt x="0" y="33"/>
                  </a:lnTo>
                  <a:lnTo>
                    <a:pt x="0" y="43"/>
                  </a:lnTo>
                  <a:lnTo>
                    <a:pt x="2" y="56"/>
                  </a:lnTo>
                  <a:lnTo>
                    <a:pt x="4" y="70"/>
                  </a:lnTo>
                  <a:lnTo>
                    <a:pt x="8" y="80"/>
                  </a:lnTo>
                  <a:lnTo>
                    <a:pt x="8" y="80"/>
                  </a:lnTo>
                  <a:lnTo>
                    <a:pt x="12" y="87"/>
                  </a:lnTo>
                  <a:lnTo>
                    <a:pt x="20" y="93"/>
                  </a:lnTo>
                  <a:lnTo>
                    <a:pt x="28" y="97"/>
                  </a:lnTo>
                  <a:lnTo>
                    <a:pt x="37" y="101"/>
                  </a:lnTo>
                  <a:lnTo>
                    <a:pt x="37" y="101"/>
                  </a:lnTo>
                  <a:lnTo>
                    <a:pt x="43" y="101"/>
                  </a:lnTo>
                  <a:lnTo>
                    <a:pt x="51" y="101"/>
                  </a:lnTo>
                  <a:lnTo>
                    <a:pt x="51" y="101"/>
                  </a:lnTo>
                  <a:lnTo>
                    <a:pt x="59" y="97"/>
                  </a:lnTo>
                  <a:lnTo>
                    <a:pt x="69" y="93"/>
                  </a:lnTo>
                  <a:lnTo>
                    <a:pt x="74" y="87"/>
                  </a:lnTo>
                  <a:lnTo>
                    <a:pt x="78" y="80"/>
                  </a:lnTo>
                  <a:lnTo>
                    <a:pt x="78" y="80"/>
                  </a:lnTo>
                  <a:lnTo>
                    <a:pt x="82" y="70"/>
                  </a:lnTo>
                  <a:lnTo>
                    <a:pt x="86" y="56"/>
                  </a:lnTo>
                  <a:lnTo>
                    <a:pt x="86" y="43"/>
                  </a:lnTo>
                  <a:lnTo>
                    <a:pt x="86" y="33"/>
                  </a:lnTo>
                  <a:lnTo>
                    <a:pt x="86" y="33"/>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4"/>
            <p:cNvSpPr>
              <a:spLocks/>
            </p:cNvSpPr>
            <p:nvPr/>
          </p:nvSpPr>
          <p:spPr bwMode="auto">
            <a:xfrm>
              <a:off x="1881" y="3634"/>
              <a:ext cx="103" cy="200"/>
            </a:xfrm>
            <a:custGeom>
              <a:avLst/>
              <a:gdLst/>
              <a:ahLst/>
              <a:cxnLst>
                <a:cxn ang="0">
                  <a:pos x="47" y="345"/>
                </a:cxn>
                <a:cxn ang="0">
                  <a:pos x="49" y="386"/>
                </a:cxn>
                <a:cxn ang="0">
                  <a:pos x="49" y="386"/>
                </a:cxn>
                <a:cxn ang="0">
                  <a:pos x="51" y="392"/>
                </a:cxn>
                <a:cxn ang="0">
                  <a:pos x="53" y="394"/>
                </a:cxn>
                <a:cxn ang="0">
                  <a:pos x="57" y="396"/>
                </a:cxn>
                <a:cxn ang="0">
                  <a:pos x="61" y="398"/>
                </a:cxn>
                <a:cxn ang="0">
                  <a:pos x="146" y="398"/>
                </a:cxn>
                <a:cxn ang="0">
                  <a:pos x="146" y="398"/>
                </a:cxn>
                <a:cxn ang="0">
                  <a:pos x="146" y="398"/>
                </a:cxn>
                <a:cxn ang="0">
                  <a:pos x="152" y="396"/>
                </a:cxn>
                <a:cxn ang="0">
                  <a:pos x="154" y="394"/>
                </a:cxn>
                <a:cxn ang="0">
                  <a:pos x="156" y="392"/>
                </a:cxn>
                <a:cxn ang="0">
                  <a:pos x="158" y="386"/>
                </a:cxn>
                <a:cxn ang="0">
                  <a:pos x="170" y="226"/>
                </a:cxn>
                <a:cxn ang="0">
                  <a:pos x="182" y="222"/>
                </a:cxn>
                <a:cxn ang="0">
                  <a:pos x="182" y="222"/>
                </a:cxn>
                <a:cxn ang="0">
                  <a:pos x="189" y="218"/>
                </a:cxn>
                <a:cxn ang="0">
                  <a:pos x="195" y="213"/>
                </a:cxn>
                <a:cxn ang="0">
                  <a:pos x="199" y="205"/>
                </a:cxn>
                <a:cxn ang="0">
                  <a:pos x="199" y="195"/>
                </a:cxn>
                <a:cxn ang="0">
                  <a:pos x="207" y="58"/>
                </a:cxn>
                <a:cxn ang="0">
                  <a:pos x="207" y="58"/>
                </a:cxn>
                <a:cxn ang="0">
                  <a:pos x="207" y="50"/>
                </a:cxn>
                <a:cxn ang="0">
                  <a:pos x="205" y="45"/>
                </a:cxn>
                <a:cxn ang="0">
                  <a:pos x="199" y="33"/>
                </a:cxn>
                <a:cxn ang="0">
                  <a:pos x="189" y="23"/>
                </a:cxn>
                <a:cxn ang="0">
                  <a:pos x="176" y="13"/>
                </a:cxn>
                <a:cxn ang="0">
                  <a:pos x="160" y="7"/>
                </a:cxn>
                <a:cxn ang="0">
                  <a:pos x="143" y="3"/>
                </a:cxn>
                <a:cxn ang="0">
                  <a:pos x="123" y="0"/>
                </a:cxn>
                <a:cxn ang="0">
                  <a:pos x="104" y="0"/>
                </a:cxn>
                <a:cxn ang="0">
                  <a:pos x="84" y="2"/>
                </a:cxn>
                <a:cxn ang="0">
                  <a:pos x="64" y="3"/>
                </a:cxn>
                <a:cxn ang="0">
                  <a:pos x="47" y="7"/>
                </a:cxn>
                <a:cxn ang="0">
                  <a:pos x="31" y="15"/>
                </a:cxn>
                <a:cxn ang="0">
                  <a:pos x="20" y="23"/>
                </a:cxn>
                <a:cxn ang="0">
                  <a:pos x="8" y="33"/>
                </a:cxn>
                <a:cxn ang="0">
                  <a:pos x="2" y="45"/>
                </a:cxn>
                <a:cxn ang="0">
                  <a:pos x="2" y="50"/>
                </a:cxn>
                <a:cxn ang="0">
                  <a:pos x="0" y="58"/>
                </a:cxn>
                <a:cxn ang="0">
                  <a:pos x="8" y="195"/>
                </a:cxn>
                <a:cxn ang="0">
                  <a:pos x="8" y="195"/>
                </a:cxn>
                <a:cxn ang="0">
                  <a:pos x="10" y="205"/>
                </a:cxn>
                <a:cxn ang="0">
                  <a:pos x="14" y="213"/>
                </a:cxn>
                <a:cxn ang="0">
                  <a:pos x="20" y="218"/>
                </a:cxn>
                <a:cxn ang="0">
                  <a:pos x="27" y="222"/>
                </a:cxn>
                <a:cxn ang="0">
                  <a:pos x="39" y="226"/>
                </a:cxn>
                <a:cxn ang="0">
                  <a:pos x="43" y="281"/>
                </a:cxn>
              </a:cxnLst>
              <a:rect l="0" t="0" r="r" b="b"/>
              <a:pathLst>
                <a:path w="207" h="398">
                  <a:moveTo>
                    <a:pt x="47" y="345"/>
                  </a:moveTo>
                  <a:lnTo>
                    <a:pt x="49" y="386"/>
                  </a:lnTo>
                  <a:lnTo>
                    <a:pt x="49" y="386"/>
                  </a:lnTo>
                  <a:lnTo>
                    <a:pt x="51" y="392"/>
                  </a:lnTo>
                  <a:lnTo>
                    <a:pt x="53" y="394"/>
                  </a:lnTo>
                  <a:lnTo>
                    <a:pt x="57" y="396"/>
                  </a:lnTo>
                  <a:lnTo>
                    <a:pt x="61" y="398"/>
                  </a:lnTo>
                  <a:lnTo>
                    <a:pt x="146" y="398"/>
                  </a:lnTo>
                  <a:lnTo>
                    <a:pt x="146" y="398"/>
                  </a:lnTo>
                  <a:lnTo>
                    <a:pt x="146" y="398"/>
                  </a:lnTo>
                  <a:lnTo>
                    <a:pt x="152" y="396"/>
                  </a:lnTo>
                  <a:lnTo>
                    <a:pt x="154" y="394"/>
                  </a:lnTo>
                  <a:lnTo>
                    <a:pt x="156" y="392"/>
                  </a:lnTo>
                  <a:lnTo>
                    <a:pt x="158" y="386"/>
                  </a:lnTo>
                  <a:lnTo>
                    <a:pt x="170" y="226"/>
                  </a:lnTo>
                  <a:lnTo>
                    <a:pt x="182" y="222"/>
                  </a:lnTo>
                  <a:lnTo>
                    <a:pt x="182" y="222"/>
                  </a:lnTo>
                  <a:lnTo>
                    <a:pt x="189" y="218"/>
                  </a:lnTo>
                  <a:lnTo>
                    <a:pt x="195" y="213"/>
                  </a:lnTo>
                  <a:lnTo>
                    <a:pt x="199" y="205"/>
                  </a:lnTo>
                  <a:lnTo>
                    <a:pt x="199" y="195"/>
                  </a:lnTo>
                  <a:lnTo>
                    <a:pt x="207" y="58"/>
                  </a:lnTo>
                  <a:lnTo>
                    <a:pt x="207" y="58"/>
                  </a:lnTo>
                  <a:lnTo>
                    <a:pt x="207" y="50"/>
                  </a:lnTo>
                  <a:lnTo>
                    <a:pt x="205" y="45"/>
                  </a:lnTo>
                  <a:lnTo>
                    <a:pt x="199" y="33"/>
                  </a:lnTo>
                  <a:lnTo>
                    <a:pt x="189" y="23"/>
                  </a:lnTo>
                  <a:lnTo>
                    <a:pt x="176" y="13"/>
                  </a:lnTo>
                  <a:lnTo>
                    <a:pt x="160" y="7"/>
                  </a:lnTo>
                  <a:lnTo>
                    <a:pt x="143" y="3"/>
                  </a:lnTo>
                  <a:lnTo>
                    <a:pt x="123" y="0"/>
                  </a:lnTo>
                  <a:lnTo>
                    <a:pt x="104" y="0"/>
                  </a:lnTo>
                  <a:lnTo>
                    <a:pt x="84" y="2"/>
                  </a:lnTo>
                  <a:lnTo>
                    <a:pt x="64" y="3"/>
                  </a:lnTo>
                  <a:lnTo>
                    <a:pt x="47" y="7"/>
                  </a:lnTo>
                  <a:lnTo>
                    <a:pt x="31" y="15"/>
                  </a:lnTo>
                  <a:lnTo>
                    <a:pt x="20" y="23"/>
                  </a:lnTo>
                  <a:lnTo>
                    <a:pt x="8" y="33"/>
                  </a:lnTo>
                  <a:lnTo>
                    <a:pt x="2" y="45"/>
                  </a:lnTo>
                  <a:lnTo>
                    <a:pt x="2" y="50"/>
                  </a:lnTo>
                  <a:lnTo>
                    <a:pt x="0" y="58"/>
                  </a:lnTo>
                  <a:lnTo>
                    <a:pt x="8" y="195"/>
                  </a:lnTo>
                  <a:lnTo>
                    <a:pt x="8" y="195"/>
                  </a:lnTo>
                  <a:lnTo>
                    <a:pt x="10" y="205"/>
                  </a:lnTo>
                  <a:lnTo>
                    <a:pt x="14" y="213"/>
                  </a:lnTo>
                  <a:lnTo>
                    <a:pt x="20" y="218"/>
                  </a:lnTo>
                  <a:lnTo>
                    <a:pt x="27" y="222"/>
                  </a:lnTo>
                  <a:lnTo>
                    <a:pt x="39" y="226"/>
                  </a:lnTo>
                  <a:lnTo>
                    <a:pt x="43" y="281"/>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5"/>
            <p:cNvSpPr>
              <a:spLocks/>
            </p:cNvSpPr>
            <p:nvPr/>
          </p:nvSpPr>
          <p:spPr bwMode="auto">
            <a:xfrm>
              <a:off x="1905" y="3562"/>
              <a:ext cx="56" cy="65"/>
            </a:xfrm>
            <a:custGeom>
              <a:avLst/>
              <a:gdLst/>
              <a:ahLst/>
              <a:cxnLst>
                <a:cxn ang="0">
                  <a:pos x="0" y="43"/>
                </a:cxn>
                <a:cxn ang="0">
                  <a:pos x="0" y="43"/>
                </a:cxn>
                <a:cxn ang="0">
                  <a:pos x="2" y="33"/>
                </a:cxn>
                <a:cxn ang="0">
                  <a:pos x="6" y="23"/>
                </a:cxn>
                <a:cxn ang="0">
                  <a:pos x="12" y="18"/>
                </a:cxn>
                <a:cxn ang="0">
                  <a:pos x="17" y="12"/>
                </a:cxn>
                <a:cxn ang="0">
                  <a:pos x="25" y="6"/>
                </a:cxn>
                <a:cxn ang="0">
                  <a:pos x="35" y="4"/>
                </a:cxn>
                <a:cxn ang="0">
                  <a:pos x="45" y="2"/>
                </a:cxn>
                <a:cxn ang="0">
                  <a:pos x="55" y="0"/>
                </a:cxn>
                <a:cxn ang="0">
                  <a:pos x="55" y="0"/>
                </a:cxn>
                <a:cxn ang="0">
                  <a:pos x="64" y="2"/>
                </a:cxn>
                <a:cxn ang="0">
                  <a:pos x="74" y="4"/>
                </a:cxn>
                <a:cxn ang="0">
                  <a:pos x="84" y="6"/>
                </a:cxn>
                <a:cxn ang="0">
                  <a:pos x="92" y="12"/>
                </a:cxn>
                <a:cxn ang="0">
                  <a:pos x="99" y="18"/>
                </a:cxn>
                <a:cxn ang="0">
                  <a:pos x="103" y="23"/>
                </a:cxn>
                <a:cxn ang="0">
                  <a:pos x="107" y="33"/>
                </a:cxn>
                <a:cxn ang="0">
                  <a:pos x="109" y="43"/>
                </a:cxn>
                <a:cxn ang="0">
                  <a:pos x="109" y="43"/>
                </a:cxn>
                <a:cxn ang="0">
                  <a:pos x="111" y="57"/>
                </a:cxn>
                <a:cxn ang="0">
                  <a:pos x="109" y="74"/>
                </a:cxn>
                <a:cxn ang="0">
                  <a:pos x="105" y="92"/>
                </a:cxn>
                <a:cxn ang="0">
                  <a:pos x="101" y="104"/>
                </a:cxn>
                <a:cxn ang="0">
                  <a:pos x="101" y="104"/>
                </a:cxn>
                <a:cxn ang="0">
                  <a:pos x="95" y="113"/>
                </a:cxn>
                <a:cxn ang="0">
                  <a:pos x="86" y="119"/>
                </a:cxn>
                <a:cxn ang="0">
                  <a:pos x="76" y="127"/>
                </a:cxn>
                <a:cxn ang="0">
                  <a:pos x="64" y="131"/>
                </a:cxn>
                <a:cxn ang="0">
                  <a:pos x="64" y="131"/>
                </a:cxn>
                <a:cxn ang="0">
                  <a:pos x="55" y="131"/>
                </a:cxn>
                <a:cxn ang="0">
                  <a:pos x="47" y="131"/>
                </a:cxn>
                <a:cxn ang="0">
                  <a:pos x="47" y="131"/>
                </a:cxn>
                <a:cxn ang="0">
                  <a:pos x="35" y="127"/>
                </a:cxn>
                <a:cxn ang="0">
                  <a:pos x="23" y="119"/>
                </a:cxn>
                <a:cxn ang="0">
                  <a:pos x="15" y="113"/>
                </a:cxn>
                <a:cxn ang="0">
                  <a:pos x="10" y="104"/>
                </a:cxn>
                <a:cxn ang="0">
                  <a:pos x="10" y="104"/>
                </a:cxn>
                <a:cxn ang="0">
                  <a:pos x="4" y="92"/>
                </a:cxn>
                <a:cxn ang="0">
                  <a:pos x="2" y="74"/>
                </a:cxn>
                <a:cxn ang="0">
                  <a:pos x="0" y="57"/>
                </a:cxn>
                <a:cxn ang="0">
                  <a:pos x="0" y="43"/>
                </a:cxn>
                <a:cxn ang="0">
                  <a:pos x="0" y="43"/>
                </a:cxn>
              </a:cxnLst>
              <a:rect l="0" t="0" r="r" b="b"/>
              <a:pathLst>
                <a:path w="111" h="131">
                  <a:moveTo>
                    <a:pt x="0" y="43"/>
                  </a:moveTo>
                  <a:lnTo>
                    <a:pt x="0" y="43"/>
                  </a:lnTo>
                  <a:lnTo>
                    <a:pt x="2" y="33"/>
                  </a:lnTo>
                  <a:lnTo>
                    <a:pt x="6" y="23"/>
                  </a:lnTo>
                  <a:lnTo>
                    <a:pt x="12" y="18"/>
                  </a:lnTo>
                  <a:lnTo>
                    <a:pt x="17" y="12"/>
                  </a:lnTo>
                  <a:lnTo>
                    <a:pt x="25" y="6"/>
                  </a:lnTo>
                  <a:lnTo>
                    <a:pt x="35" y="4"/>
                  </a:lnTo>
                  <a:lnTo>
                    <a:pt x="45" y="2"/>
                  </a:lnTo>
                  <a:lnTo>
                    <a:pt x="55" y="0"/>
                  </a:lnTo>
                  <a:lnTo>
                    <a:pt x="55" y="0"/>
                  </a:lnTo>
                  <a:lnTo>
                    <a:pt x="64" y="2"/>
                  </a:lnTo>
                  <a:lnTo>
                    <a:pt x="74" y="4"/>
                  </a:lnTo>
                  <a:lnTo>
                    <a:pt x="84" y="6"/>
                  </a:lnTo>
                  <a:lnTo>
                    <a:pt x="92" y="12"/>
                  </a:lnTo>
                  <a:lnTo>
                    <a:pt x="99" y="18"/>
                  </a:lnTo>
                  <a:lnTo>
                    <a:pt x="103" y="23"/>
                  </a:lnTo>
                  <a:lnTo>
                    <a:pt x="107" y="33"/>
                  </a:lnTo>
                  <a:lnTo>
                    <a:pt x="109" y="43"/>
                  </a:lnTo>
                  <a:lnTo>
                    <a:pt x="109" y="43"/>
                  </a:lnTo>
                  <a:lnTo>
                    <a:pt x="111" y="57"/>
                  </a:lnTo>
                  <a:lnTo>
                    <a:pt x="109" y="74"/>
                  </a:lnTo>
                  <a:lnTo>
                    <a:pt x="105" y="92"/>
                  </a:lnTo>
                  <a:lnTo>
                    <a:pt x="101" y="104"/>
                  </a:lnTo>
                  <a:lnTo>
                    <a:pt x="101" y="104"/>
                  </a:lnTo>
                  <a:lnTo>
                    <a:pt x="95" y="113"/>
                  </a:lnTo>
                  <a:lnTo>
                    <a:pt x="86" y="119"/>
                  </a:lnTo>
                  <a:lnTo>
                    <a:pt x="76" y="127"/>
                  </a:lnTo>
                  <a:lnTo>
                    <a:pt x="64" y="131"/>
                  </a:lnTo>
                  <a:lnTo>
                    <a:pt x="64" y="131"/>
                  </a:lnTo>
                  <a:lnTo>
                    <a:pt x="55" y="131"/>
                  </a:lnTo>
                  <a:lnTo>
                    <a:pt x="47" y="131"/>
                  </a:lnTo>
                  <a:lnTo>
                    <a:pt x="47" y="131"/>
                  </a:lnTo>
                  <a:lnTo>
                    <a:pt x="35" y="127"/>
                  </a:lnTo>
                  <a:lnTo>
                    <a:pt x="23" y="119"/>
                  </a:lnTo>
                  <a:lnTo>
                    <a:pt x="15" y="113"/>
                  </a:lnTo>
                  <a:lnTo>
                    <a:pt x="10" y="104"/>
                  </a:lnTo>
                  <a:lnTo>
                    <a:pt x="10" y="104"/>
                  </a:lnTo>
                  <a:lnTo>
                    <a:pt x="4" y="92"/>
                  </a:lnTo>
                  <a:lnTo>
                    <a:pt x="2" y="74"/>
                  </a:lnTo>
                  <a:lnTo>
                    <a:pt x="0" y="57"/>
                  </a:lnTo>
                  <a:lnTo>
                    <a:pt x="0" y="43"/>
                  </a:lnTo>
                  <a:lnTo>
                    <a:pt x="0" y="43"/>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16"/>
            <p:cNvSpPr>
              <a:spLocks noChangeShapeType="1"/>
            </p:cNvSpPr>
            <p:nvPr/>
          </p:nvSpPr>
          <p:spPr bwMode="auto">
            <a:xfrm>
              <a:off x="655" y="3830"/>
              <a:ext cx="1" cy="1"/>
            </a:xfrm>
            <a:prstGeom prst="line">
              <a:avLst/>
            </a:prstGeom>
            <a:noFill/>
            <a:ln w="6350">
              <a:solidFill>
                <a:srgbClr val="AAAAA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17"/>
            <p:cNvSpPr>
              <a:spLocks noChangeShapeType="1"/>
            </p:cNvSpPr>
            <p:nvPr/>
          </p:nvSpPr>
          <p:spPr bwMode="auto">
            <a:xfrm flipH="1">
              <a:off x="2618" y="3709"/>
              <a:ext cx="50" cy="25"/>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18"/>
            <p:cNvSpPr>
              <a:spLocks noChangeShapeType="1"/>
            </p:cNvSpPr>
            <p:nvPr/>
          </p:nvSpPr>
          <p:spPr bwMode="auto">
            <a:xfrm flipH="1">
              <a:off x="2588" y="3653"/>
              <a:ext cx="39" cy="40"/>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19"/>
            <p:cNvSpPr>
              <a:spLocks noChangeShapeType="1"/>
            </p:cNvSpPr>
            <p:nvPr/>
          </p:nvSpPr>
          <p:spPr bwMode="auto">
            <a:xfrm flipH="1">
              <a:off x="2547" y="3614"/>
              <a:ext cx="22" cy="52"/>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20"/>
            <p:cNvSpPr>
              <a:spLocks noChangeShapeType="1"/>
            </p:cNvSpPr>
            <p:nvPr/>
          </p:nvSpPr>
          <p:spPr bwMode="auto">
            <a:xfrm flipH="1">
              <a:off x="2498" y="3597"/>
              <a:ext cx="4" cy="56"/>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21"/>
            <p:cNvSpPr>
              <a:spLocks noChangeShapeType="1"/>
            </p:cNvSpPr>
            <p:nvPr/>
          </p:nvSpPr>
          <p:spPr bwMode="auto">
            <a:xfrm>
              <a:off x="2432" y="3605"/>
              <a:ext cx="16" cy="54"/>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22"/>
            <p:cNvSpPr>
              <a:spLocks noChangeShapeType="1"/>
            </p:cNvSpPr>
            <p:nvPr/>
          </p:nvSpPr>
          <p:spPr bwMode="auto">
            <a:xfrm>
              <a:off x="2370" y="3635"/>
              <a:ext cx="33" cy="45"/>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23"/>
            <p:cNvSpPr>
              <a:spLocks noChangeShapeType="1"/>
            </p:cNvSpPr>
            <p:nvPr/>
          </p:nvSpPr>
          <p:spPr bwMode="auto">
            <a:xfrm>
              <a:off x="2322" y="3685"/>
              <a:ext cx="46" cy="31"/>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24"/>
            <p:cNvSpPr>
              <a:spLocks noChangeShapeType="1"/>
            </p:cNvSpPr>
            <p:nvPr/>
          </p:nvSpPr>
          <p:spPr bwMode="auto">
            <a:xfrm>
              <a:off x="2294" y="3749"/>
              <a:ext cx="54" cy="13"/>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25"/>
            <p:cNvSpPr>
              <a:spLocks noChangeShapeType="1"/>
            </p:cNvSpPr>
            <p:nvPr/>
          </p:nvSpPr>
          <p:spPr bwMode="auto">
            <a:xfrm flipH="1">
              <a:off x="2632" y="3776"/>
              <a:ext cx="55" cy="6"/>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6"/>
            <p:cNvSpPr>
              <a:spLocks/>
            </p:cNvSpPr>
            <p:nvPr/>
          </p:nvSpPr>
          <p:spPr bwMode="auto">
            <a:xfrm>
              <a:off x="2468" y="3785"/>
              <a:ext cx="18" cy="19"/>
            </a:xfrm>
            <a:custGeom>
              <a:avLst/>
              <a:gdLst/>
              <a:ahLst/>
              <a:cxnLst>
                <a:cxn ang="0">
                  <a:pos x="37" y="20"/>
                </a:cxn>
                <a:cxn ang="0">
                  <a:pos x="37" y="20"/>
                </a:cxn>
                <a:cxn ang="0">
                  <a:pos x="35" y="28"/>
                </a:cxn>
                <a:cxn ang="0">
                  <a:pos x="31" y="34"/>
                </a:cxn>
                <a:cxn ang="0">
                  <a:pos x="26" y="38"/>
                </a:cxn>
                <a:cxn ang="0">
                  <a:pos x="20" y="39"/>
                </a:cxn>
                <a:cxn ang="0">
                  <a:pos x="20" y="39"/>
                </a:cxn>
                <a:cxn ang="0">
                  <a:pos x="12" y="38"/>
                </a:cxn>
                <a:cxn ang="0">
                  <a:pos x="6" y="34"/>
                </a:cxn>
                <a:cxn ang="0">
                  <a:pos x="2" y="28"/>
                </a:cxn>
                <a:cxn ang="0">
                  <a:pos x="0" y="20"/>
                </a:cxn>
                <a:cxn ang="0">
                  <a:pos x="0" y="20"/>
                </a:cxn>
                <a:cxn ang="0">
                  <a:pos x="0" y="12"/>
                </a:cxn>
                <a:cxn ang="0">
                  <a:pos x="4" y="6"/>
                </a:cxn>
                <a:cxn ang="0">
                  <a:pos x="10" y="2"/>
                </a:cxn>
                <a:cxn ang="0">
                  <a:pos x="18" y="0"/>
                </a:cxn>
                <a:cxn ang="0">
                  <a:pos x="18" y="0"/>
                </a:cxn>
                <a:cxn ang="0">
                  <a:pos x="26" y="2"/>
                </a:cxn>
                <a:cxn ang="0">
                  <a:pos x="31" y="6"/>
                </a:cxn>
                <a:cxn ang="0">
                  <a:pos x="35" y="12"/>
                </a:cxn>
                <a:cxn ang="0">
                  <a:pos x="37" y="20"/>
                </a:cxn>
                <a:cxn ang="0">
                  <a:pos x="37" y="20"/>
                </a:cxn>
              </a:cxnLst>
              <a:rect l="0" t="0" r="r" b="b"/>
              <a:pathLst>
                <a:path w="37" h="39">
                  <a:moveTo>
                    <a:pt x="37" y="20"/>
                  </a:moveTo>
                  <a:lnTo>
                    <a:pt x="37" y="20"/>
                  </a:lnTo>
                  <a:lnTo>
                    <a:pt x="35" y="28"/>
                  </a:lnTo>
                  <a:lnTo>
                    <a:pt x="31" y="34"/>
                  </a:lnTo>
                  <a:lnTo>
                    <a:pt x="26" y="38"/>
                  </a:lnTo>
                  <a:lnTo>
                    <a:pt x="20" y="39"/>
                  </a:lnTo>
                  <a:lnTo>
                    <a:pt x="20" y="39"/>
                  </a:lnTo>
                  <a:lnTo>
                    <a:pt x="12" y="38"/>
                  </a:lnTo>
                  <a:lnTo>
                    <a:pt x="6" y="34"/>
                  </a:lnTo>
                  <a:lnTo>
                    <a:pt x="2" y="28"/>
                  </a:lnTo>
                  <a:lnTo>
                    <a:pt x="0" y="20"/>
                  </a:lnTo>
                  <a:lnTo>
                    <a:pt x="0" y="20"/>
                  </a:lnTo>
                  <a:lnTo>
                    <a:pt x="0" y="12"/>
                  </a:lnTo>
                  <a:lnTo>
                    <a:pt x="4" y="6"/>
                  </a:lnTo>
                  <a:lnTo>
                    <a:pt x="10" y="2"/>
                  </a:lnTo>
                  <a:lnTo>
                    <a:pt x="18" y="0"/>
                  </a:lnTo>
                  <a:lnTo>
                    <a:pt x="18" y="0"/>
                  </a:lnTo>
                  <a:lnTo>
                    <a:pt x="26" y="2"/>
                  </a:lnTo>
                  <a:lnTo>
                    <a:pt x="31" y="6"/>
                  </a:lnTo>
                  <a:lnTo>
                    <a:pt x="35" y="12"/>
                  </a:lnTo>
                  <a:lnTo>
                    <a:pt x="37" y="20"/>
                  </a:lnTo>
                  <a:lnTo>
                    <a:pt x="37" y="20"/>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27"/>
            <p:cNvSpPr>
              <a:spLocks noChangeShapeType="1"/>
            </p:cNvSpPr>
            <p:nvPr/>
          </p:nvSpPr>
          <p:spPr bwMode="auto">
            <a:xfrm flipV="1">
              <a:off x="2437" y="3752"/>
              <a:ext cx="149" cy="58"/>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28"/>
            <p:cNvSpPr>
              <a:spLocks noChangeShapeType="1"/>
            </p:cNvSpPr>
            <p:nvPr/>
          </p:nvSpPr>
          <p:spPr bwMode="auto">
            <a:xfrm>
              <a:off x="3152" y="3835"/>
              <a:ext cx="2993" cy="0"/>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9"/>
            <p:cNvSpPr>
              <a:spLocks/>
            </p:cNvSpPr>
            <p:nvPr/>
          </p:nvSpPr>
          <p:spPr bwMode="auto">
            <a:xfrm>
              <a:off x="1172" y="3630"/>
              <a:ext cx="370" cy="205"/>
            </a:xfrm>
            <a:custGeom>
              <a:avLst/>
              <a:gdLst/>
              <a:ahLst/>
              <a:cxnLst>
                <a:cxn ang="0">
                  <a:pos x="740" y="258"/>
                </a:cxn>
                <a:cxn ang="0">
                  <a:pos x="740" y="174"/>
                </a:cxn>
                <a:cxn ang="0">
                  <a:pos x="627" y="6"/>
                </a:cxn>
                <a:cxn ang="0">
                  <a:pos x="613" y="158"/>
                </a:cxn>
                <a:cxn ang="0">
                  <a:pos x="459" y="0"/>
                </a:cxn>
                <a:cxn ang="0">
                  <a:pos x="459" y="158"/>
                </a:cxn>
                <a:cxn ang="0">
                  <a:pos x="295" y="0"/>
                </a:cxn>
                <a:cxn ang="0">
                  <a:pos x="295" y="158"/>
                </a:cxn>
                <a:cxn ang="0">
                  <a:pos x="135" y="0"/>
                </a:cxn>
                <a:cxn ang="0">
                  <a:pos x="135" y="347"/>
                </a:cxn>
                <a:cxn ang="0">
                  <a:pos x="470" y="347"/>
                </a:cxn>
                <a:cxn ang="0">
                  <a:pos x="470" y="392"/>
                </a:cxn>
                <a:cxn ang="0">
                  <a:pos x="470" y="408"/>
                </a:cxn>
                <a:cxn ang="0">
                  <a:pos x="0" y="408"/>
                </a:cxn>
              </a:cxnLst>
              <a:rect l="0" t="0" r="r" b="b"/>
              <a:pathLst>
                <a:path w="740" h="408">
                  <a:moveTo>
                    <a:pt x="740" y="258"/>
                  </a:moveTo>
                  <a:lnTo>
                    <a:pt x="740" y="174"/>
                  </a:lnTo>
                  <a:lnTo>
                    <a:pt x="627" y="6"/>
                  </a:lnTo>
                  <a:lnTo>
                    <a:pt x="613" y="158"/>
                  </a:lnTo>
                  <a:lnTo>
                    <a:pt x="459" y="0"/>
                  </a:lnTo>
                  <a:lnTo>
                    <a:pt x="459" y="158"/>
                  </a:lnTo>
                  <a:lnTo>
                    <a:pt x="295" y="0"/>
                  </a:lnTo>
                  <a:lnTo>
                    <a:pt x="295" y="158"/>
                  </a:lnTo>
                  <a:lnTo>
                    <a:pt x="135" y="0"/>
                  </a:lnTo>
                  <a:lnTo>
                    <a:pt x="135" y="347"/>
                  </a:lnTo>
                  <a:lnTo>
                    <a:pt x="470" y="347"/>
                  </a:lnTo>
                  <a:lnTo>
                    <a:pt x="470" y="392"/>
                  </a:lnTo>
                  <a:lnTo>
                    <a:pt x="470" y="408"/>
                  </a:lnTo>
                  <a:lnTo>
                    <a:pt x="0" y="408"/>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0"/>
            <p:cNvSpPr>
              <a:spLocks/>
            </p:cNvSpPr>
            <p:nvPr/>
          </p:nvSpPr>
          <p:spPr bwMode="auto">
            <a:xfrm>
              <a:off x="1543" y="3795"/>
              <a:ext cx="271" cy="40"/>
            </a:xfrm>
            <a:custGeom>
              <a:avLst/>
              <a:gdLst/>
              <a:ahLst/>
              <a:cxnLst>
                <a:cxn ang="0">
                  <a:pos x="540" y="78"/>
                </a:cxn>
                <a:cxn ang="0">
                  <a:pos x="476" y="78"/>
                </a:cxn>
                <a:cxn ang="0">
                  <a:pos x="0" y="78"/>
                </a:cxn>
                <a:cxn ang="0">
                  <a:pos x="0" y="0"/>
                </a:cxn>
              </a:cxnLst>
              <a:rect l="0" t="0" r="r" b="b"/>
              <a:pathLst>
                <a:path w="540" h="78">
                  <a:moveTo>
                    <a:pt x="540" y="78"/>
                  </a:moveTo>
                  <a:lnTo>
                    <a:pt x="476" y="78"/>
                  </a:lnTo>
                  <a:lnTo>
                    <a:pt x="0" y="78"/>
                  </a:lnTo>
                  <a:lnTo>
                    <a:pt x="0" y="0"/>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1"/>
            <p:cNvSpPr>
              <a:spLocks/>
            </p:cNvSpPr>
            <p:nvPr/>
          </p:nvSpPr>
          <p:spPr bwMode="auto">
            <a:xfrm flipV="1">
              <a:off x="1814" y="3806"/>
              <a:ext cx="1062" cy="29"/>
            </a:xfrm>
            <a:custGeom>
              <a:avLst/>
              <a:gdLst/>
              <a:ahLst/>
              <a:cxnLst>
                <a:cxn ang="0">
                  <a:pos x="2583" y="0"/>
                </a:cxn>
                <a:cxn ang="0">
                  <a:pos x="340" y="0"/>
                </a:cxn>
                <a:cxn ang="0">
                  <a:pos x="0" y="0"/>
                </a:cxn>
              </a:cxnLst>
              <a:rect l="0" t="0" r="r" b="b"/>
              <a:pathLst>
                <a:path w="2583">
                  <a:moveTo>
                    <a:pt x="2583" y="0"/>
                  </a:moveTo>
                  <a:lnTo>
                    <a:pt x="340" y="0"/>
                  </a:lnTo>
                  <a:lnTo>
                    <a:pt x="0" y="0"/>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Line 32"/>
            <p:cNvSpPr>
              <a:spLocks noChangeShapeType="1"/>
            </p:cNvSpPr>
            <p:nvPr/>
          </p:nvSpPr>
          <p:spPr bwMode="auto">
            <a:xfrm>
              <a:off x="661" y="3835"/>
              <a:ext cx="512" cy="1"/>
            </a:xfrm>
            <a:prstGeom prst="line">
              <a:avLst/>
            </a:pr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33"/>
            <p:cNvSpPr>
              <a:spLocks/>
            </p:cNvSpPr>
            <p:nvPr/>
          </p:nvSpPr>
          <p:spPr bwMode="auto">
            <a:xfrm>
              <a:off x="2865" y="3754"/>
              <a:ext cx="91" cy="91"/>
            </a:xfrm>
            <a:custGeom>
              <a:avLst/>
              <a:gdLst/>
              <a:ahLst/>
              <a:cxnLst>
                <a:cxn ang="0">
                  <a:pos x="0" y="78"/>
                </a:cxn>
                <a:cxn ang="0">
                  <a:pos x="0" y="78"/>
                </a:cxn>
                <a:cxn ang="0">
                  <a:pos x="4" y="62"/>
                </a:cxn>
                <a:cxn ang="0">
                  <a:pos x="9" y="49"/>
                </a:cxn>
                <a:cxn ang="0">
                  <a:pos x="19" y="35"/>
                </a:cxn>
                <a:cxn ang="0">
                  <a:pos x="31" y="23"/>
                </a:cxn>
                <a:cxn ang="0">
                  <a:pos x="43" y="14"/>
                </a:cxn>
                <a:cxn ang="0">
                  <a:pos x="58" y="6"/>
                </a:cxn>
                <a:cxn ang="0">
                  <a:pos x="74" y="2"/>
                </a:cxn>
                <a:cxn ang="0">
                  <a:pos x="89" y="0"/>
                </a:cxn>
                <a:cxn ang="0">
                  <a:pos x="89" y="0"/>
                </a:cxn>
                <a:cxn ang="0">
                  <a:pos x="109" y="2"/>
                </a:cxn>
                <a:cxn ang="0">
                  <a:pos x="125" y="8"/>
                </a:cxn>
                <a:cxn ang="0">
                  <a:pos x="140" y="15"/>
                </a:cxn>
                <a:cxn ang="0">
                  <a:pos x="154" y="27"/>
                </a:cxn>
                <a:cxn ang="0">
                  <a:pos x="166" y="41"/>
                </a:cxn>
                <a:cxn ang="0">
                  <a:pos x="173" y="56"/>
                </a:cxn>
                <a:cxn ang="0">
                  <a:pos x="179" y="74"/>
                </a:cxn>
                <a:cxn ang="0">
                  <a:pos x="181" y="92"/>
                </a:cxn>
                <a:cxn ang="0">
                  <a:pos x="181" y="92"/>
                </a:cxn>
                <a:cxn ang="0">
                  <a:pos x="179" y="109"/>
                </a:cxn>
                <a:cxn ang="0">
                  <a:pos x="173" y="127"/>
                </a:cxn>
                <a:cxn ang="0">
                  <a:pos x="166" y="142"/>
                </a:cxn>
                <a:cxn ang="0">
                  <a:pos x="154" y="156"/>
                </a:cxn>
                <a:cxn ang="0">
                  <a:pos x="140" y="166"/>
                </a:cxn>
                <a:cxn ang="0">
                  <a:pos x="125" y="176"/>
                </a:cxn>
                <a:cxn ang="0">
                  <a:pos x="109" y="180"/>
                </a:cxn>
                <a:cxn ang="0">
                  <a:pos x="89" y="182"/>
                </a:cxn>
                <a:cxn ang="0">
                  <a:pos x="89" y="182"/>
                </a:cxn>
                <a:cxn ang="0">
                  <a:pos x="72" y="182"/>
                </a:cxn>
                <a:cxn ang="0">
                  <a:pos x="56" y="176"/>
                </a:cxn>
                <a:cxn ang="0">
                  <a:pos x="41" y="168"/>
                </a:cxn>
                <a:cxn ang="0">
                  <a:pos x="29" y="158"/>
                </a:cxn>
                <a:cxn ang="0">
                  <a:pos x="17" y="146"/>
                </a:cxn>
                <a:cxn ang="0">
                  <a:pos x="9" y="133"/>
                </a:cxn>
                <a:cxn ang="0">
                  <a:pos x="2" y="117"/>
                </a:cxn>
                <a:cxn ang="0">
                  <a:pos x="0" y="99"/>
                </a:cxn>
              </a:cxnLst>
              <a:rect l="0" t="0" r="r" b="b"/>
              <a:pathLst>
                <a:path w="181" h="182">
                  <a:moveTo>
                    <a:pt x="0" y="78"/>
                  </a:moveTo>
                  <a:lnTo>
                    <a:pt x="0" y="78"/>
                  </a:lnTo>
                  <a:lnTo>
                    <a:pt x="4" y="62"/>
                  </a:lnTo>
                  <a:lnTo>
                    <a:pt x="9" y="49"/>
                  </a:lnTo>
                  <a:lnTo>
                    <a:pt x="19" y="35"/>
                  </a:lnTo>
                  <a:lnTo>
                    <a:pt x="31" y="23"/>
                  </a:lnTo>
                  <a:lnTo>
                    <a:pt x="43" y="14"/>
                  </a:lnTo>
                  <a:lnTo>
                    <a:pt x="58" y="6"/>
                  </a:lnTo>
                  <a:lnTo>
                    <a:pt x="74" y="2"/>
                  </a:lnTo>
                  <a:lnTo>
                    <a:pt x="89" y="0"/>
                  </a:lnTo>
                  <a:lnTo>
                    <a:pt x="89" y="0"/>
                  </a:lnTo>
                  <a:lnTo>
                    <a:pt x="109" y="2"/>
                  </a:lnTo>
                  <a:lnTo>
                    <a:pt x="125" y="8"/>
                  </a:lnTo>
                  <a:lnTo>
                    <a:pt x="140" y="15"/>
                  </a:lnTo>
                  <a:lnTo>
                    <a:pt x="154" y="27"/>
                  </a:lnTo>
                  <a:lnTo>
                    <a:pt x="166" y="41"/>
                  </a:lnTo>
                  <a:lnTo>
                    <a:pt x="173" y="56"/>
                  </a:lnTo>
                  <a:lnTo>
                    <a:pt x="179" y="74"/>
                  </a:lnTo>
                  <a:lnTo>
                    <a:pt x="181" y="92"/>
                  </a:lnTo>
                  <a:lnTo>
                    <a:pt x="181" y="92"/>
                  </a:lnTo>
                  <a:lnTo>
                    <a:pt x="179" y="109"/>
                  </a:lnTo>
                  <a:lnTo>
                    <a:pt x="173" y="127"/>
                  </a:lnTo>
                  <a:lnTo>
                    <a:pt x="166" y="142"/>
                  </a:lnTo>
                  <a:lnTo>
                    <a:pt x="154" y="156"/>
                  </a:lnTo>
                  <a:lnTo>
                    <a:pt x="140" y="166"/>
                  </a:lnTo>
                  <a:lnTo>
                    <a:pt x="125" y="176"/>
                  </a:lnTo>
                  <a:lnTo>
                    <a:pt x="109" y="180"/>
                  </a:lnTo>
                  <a:lnTo>
                    <a:pt x="89" y="182"/>
                  </a:lnTo>
                  <a:lnTo>
                    <a:pt x="89" y="182"/>
                  </a:lnTo>
                  <a:lnTo>
                    <a:pt x="72" y="182"/>
                  </a:lnTo>
                  <a:lnTo>
                    <a:pt x="56" y="176"/>
                  </a:lnTo>
                  <a:lnTo>
                    <a:pt x="41" y="168"/>
                  </a:lnTo>
                  <a:lnTo>
                    <a:pt x="29" y="158"/>
                  </a:lnTo>
                  <a:lnTo>
                    <a:pt x="17" y="146"/>
                  </a:lnTo>
                  <a:lnTo>
                    <a:pt x="9" y="133"/>
                  </a:lnTo>
                  <a:lnTo>
                    <a:pt x="2" y="117"/>
                  </a:lnTo>
                  <a:lnTo>
                    <a:pt x="0" y="99"/>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4"/>
            <p:cNvSpPr>
              <a:spLocks/>
            </p:cNvSpPr>
            <p:nvPr/>
          </p:nvSpPr>
          <p:spPr bwMode="auto">
            <a:xfrm>
              <a:off x="2937" y="3727"/>
              <a:ext cx="118" cy="118"/>
            </a:xfrm>
            <a:custGeom>
              <a:avLst/>
              <a:gdLst/>
              <a:ahLst/>
              <a:cxnLst>
                <a:cxn ang="0">
                  <a:pos x="236" y="119"/>
                </a:cxn>
                <a:cxn ang="0">
                  <a:pos x="236" y="119"/>
                </a:cxn>
                <a:cxn ang="0">
                  <a:pos x="236" y="131"/>
                </a:cxn>
                <a:cxn ang="0">
                  <a:pos x="234" y="143"/>
                </a:cxn>
                <a:cxn ang="0">
                  <a:pos x="227" y="164"/>
                </a:cxn>
                <a:cxn ang="0">
                  <a:pos x="217" y="186"/>
                </a:cxn>
                <a:cxn ang="0">
                  <a:pos x="201" y="203"/>
                </a:cxn>
                <a:cxn ang="0">
                  <a:pos x="184" y="217"/>
                </a:cxn>
                <a:cxn ang="0">
                  <a:pos x="164" y="229"/>
                </a:cxn>
                <a:cxn ang="0">
                  <a:pos x="143" y="235"/>
                </a:cxn>
                <a:cxn ang="0">
                  <a:pos x="131" y="237"/>
                </a:cxn>
                <a:cxn ang="0">
                  <a:pos x="117" y="237"/>
                </a:cxn>
                <a:cxn ang="0">
                  <a:pos x="117" y="237"/>
                </a:cxn>
                <a:cxn ang="0">
                  <a:pos x="105" y="237"/>
                </a:cxn>
                <a:cxn ang="0">
                  <a:pos x="94" y="235"/>
                </a:cxn>
                <a:cxn ang="0">
                  <a:pos x="72" y="229"/>
                </a:cxn>
                <a:cxn ang="0">
                  <a:pos x="53" y="217"/>
                </a:cxn>
                <a:cxn ang="0">
                  <a:pos x="35" y="203"/>
                </a:cxn>
                <a:cxn ang="0">
                  <a:pos x="20" y="186"/>
                </a:cxn>
                <a:cxn ang="0">
                  <a:pos x="10" y="164"/>
                </a:cxn>
                <a:cxn ang="0">
                  <a:pos x="2" y="143"/>
                </a:cxn>
                <a:cxn ang="0">
                  <a:pos x="0" y="131"/>
                </a:cxn>
                <a:cxn ang="0">
                  <a:pos x="0" y="119"/>
                </a:cxn>
                <a:cxn ang="0">
                  <a:pos x="0" y="119"/>
                </a:cxn>
                <a:cxn ang="0">
                  <a:pos x="0" y="108"/>
                </a:cxn>
                <a:cxn ang="0">
                  <a:pos x="2" y="96"/>
                </a:cxn>
                <a:cxn ang="0">
                  <a:pos x="10" y="72"/>
                </a:cxn>
                <a:cxn ang="0">
                  <a:pos x="20" y="53"/>
                </a:cxn>
                <a:cxn ang="0">
                  <a:pos x="35" y="35"/>
                </a:cxn>
                <a:cxn ang="0">
                  <a:pos x="53" y="22"/>
                </a:cxn>
                <a:cxn ang="0">
                  <a:pos x="72" y="10"/>
                </a:cxn>
                <a:cxn ang="0">
                  <a:pos x="94" y="2"/>
                </a:cxn>
                <a:cxn ang="0">
                  <a:pos x="105" y="2"/>
                </a:cxn>
                <a:cxn ang="0">
                  <a:pos x="117" y="0"/>
                </a:cxn>
                <a:cxn ang="0">
                  <a:pos x="117" y="0"/>
                </a:cxn>
                <a:cxn ang="0">
                  <a:pos x="131" y="2"/>
                </a:cxn>
                <a:cxn ang="0">
                  <a:pos x="143" y="2"/>
                </a:cxn>
                <a:cxn ang="0">
                  <a:pos x="164" y="10"/>
                </a:cxn>
                <a:cxn ang="0">
                  <a:pos x="184" y="22"/>
                </a:cxn>
                <a:cxn ang="0">
                  <a:pos x="201" y="35"/>
                </a:cxn>
                <a:cxn ang="0">
                  <a:pos x="217" y="53"/>
                </a:cxn>
                <a:cxn ang="0">
                  <a:pos x="227" y="72"/>
                </a:cxn>
                <a:cxn ang="0">
                  <a:pos x="234" y="96"/>
                </a:cxn>
                <a:cxn ang="0">
                  <a:pos x="236" y="108"/>
                </a:cxn>
                <a:cxn ang="0">
                  <a:pos x="236" y="119"/>
                </a:cxn>
                <a:cxn ang="0">
                  <a:pos x="236" y="119"/>
                </a:cxn>
              </a:cxnLst>
              <a:rect l="0" t="0" r="r" b="b"/>
              <a:pathLst>
                <a:path w="236" h="237">
                  <a:moveTo>
                    <a:pt x="236" y="119"/>
                  </a:moveTo>
                  <a:lnTo>
                    <a:pt x="236" y="119"/>
                  </a:lnTo>
                  <a:lnTo>
                    <a:pt x="236" y="131"/>
                  </a:lnTo>
                  <a:lnTo>
                    <a:pt x="234" y="143"/>
                  </a:lnTo>
                  <a:lnTo>
                    <a:pt x="227" y="164"/>
                  </a:lnTo>
                  <a:lnTo>
                    <a:pt x="217" y="186"/>
                  </a:lnTo>
                  <a:lnTo>
                    <a:pt x="201" y="203"/>
                  </a:lnTo>
                  <a:lnTo>
                    <a:pt x="184" y="217"/>
                  </a:lnTo>
                  <a:lnTo>
                    <a:pt x="164" y="229"/>
                  </a:lnTo>
                  <a:lnTo>
                    <a:pt x="143" y="235"/>
                  </a:lnTo>
                  <a:lnTo>
                    <a:pt x="131" y="237"/>
                  </a:lnTo>
                  <a:lnTo>
                    <a:pt x="117" y="237"/>
                  </a:lnTo>
                  <a:lnTo>
                    <a:pt x="117" y="237"/>
                  </a:lnTo>
                  <a:lnTo>
                    <a:pt x="105" y="237"/>
                  </a:lnTo>
                  <a:lnTo>
                    <a:pt x="94" y="235"/>
                  </a:lnTo>
                  <a:lnTo>
                    <a:pt x="72" y="229"/>
                  </a:lnTo>
                  <a:lnTo>
                    <a:pt x="53" y="217"/>
                  </a:lnTo>
                  <a:lnTo>
                    <a:pt x="35" y="203"/>
                  </a:lnTo>
                  <a:lnTo>
                    <a:pt x="20" y="186"/>
                  </a:lnTo>
                  <a:lnTo>
                    <a:pt x="10" y="164"/>
                  </a:lnTo>
                  <a:lnTo>
                    <a:pt x="2" y="143"/>
                  </a:lnTo>
                  <a:lnTo>
                    <a:pt x="0" y="131"/>
                  </a:lnTo>
                  <a:lnTo>
                    <a:pt x="0" y="119"/>
                  </a:lnTo>
                  <a:lnTo>
                    <a:pt x="0" y="119"/>
                  </a:lnTo>
                  <a:lnTo>
                    <a:pt x="0" y="108"/>
                  </a:lnTo>
                  <a:lnTo>
                    <a:pt x="2" y="96"/>
                  </a:lnTo>
                  <a:lnTo>
                    <a:pt x="10" y="72"/>
                  </a:lnTo>
                  <a:lnTo>
                    <a:pt x="20" y="53"/>
                  </a:lnTo>
                  <a:lnTo>
                    <a:pt x="35" y="35"/>
                  </a:lnTo>
                  <a:lnTo>
                    <a:pt x="53" y="22"/>
                  </a:lnTo>
                  <a:lnTo>
                    <a:pt x="72" y="10"/>
                  </a:lnTo>
                  <a:lnTo>
                    <a:pt x="94" y="2"/>
                  </a:lnTo>
                  <a:lnTo>
                    <a:pt x="105" y="2"/>
                  </a:lnTo>
                  <a:lnTo>
                    <a:pt x="117" y="0"/>
                  </a:lnTo>
                  <a:lnTo>
                    <a:pt x="117" y="0"/>
                  </a:lnTo>
                  <a:lnTo>
                    <a:pt x="131" y="2"/>
                  </a:lnTo>
                  <a:lnTo>
                    <a:pt x="143" y="2"/>
                  </a:lnTo>
                  <a:lnTo>
                    <a:pt x="164" y="10"/>
                  </a:lnTo>
                  <a:lnTo>
                    <a:pt x="184" y="22"/>
                  </a:lnTo>
                  <a:lnTo>
                    <a:pt x="201" y="35"/>
                  </a:lnTo>
                  <a:lnTo>
                    <a:pt x="217" y="53"/>
                  </a:lnTo>
                  <a:lnTo>
                    <a:pt x="227" y="72"/>
                  </a:lnTo>
                  <a:lnTo>
                    <a:pt x="234" y="96"/>
                  </a:lnTo>
                  <a:lnTo>
                    <a:pt x="236" y="108"/>
                  </a:lnTo>
                  <a:lnTo>
                    <a:pt x="236" y="119"/>
                  </a:lnTo>
                  <a:lnTo>
                    <a:pt x="236" y="119"/>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5"/>
            <p:cNvSpPr>
              <a:spLocks/>
            </p:cNvSpPr>
            <p:nvPr/>
          </p:nvSpPr>
          <p:spPr bwMode="auto">
            <a:xfrm>
              <a:off x="3029" y="3684"/>
              <a:ext cx="162" cy="162"/>
            </a:xfrm>
            <a:custGeom>
              <a:avLst/>
              <a:gdLst/>
              <a:ahLst/>
              <a:cxnLst>
                <a:cxn ang="0">
                  <a:pos x="253" y="297"/>
                </a:cxn>
                <a:cxn ang="0">
                  <a:pos x="210" y="319"/>
                </a:cxn>
                <a:cxn ang="0">
                  <a:pos x="162" y="324"/>
                </a:cxn>
                <a:cxn ang="0">
                  <a:pos x="144" y="324"/>
                </a:cxn>
                <a:cxn ang="0">
                  <a:pos x="113" y="319"/>
                </a:cxn>
                <a:cxn ang="0">
                  <a:pos x="83" y="305"/>
                </a:cxn>
                <a:cxn ang="0">
                  <a:pos x="58" y="289"/>
                </a:cxn>
                <a:cxn ang="0">
                  <a:pos x="37" y="266"/>
                </a:cxn>
                <a:cxn ang="0">
                  <a:pos x="19" y="240"/>
                </a:cxn>
                <a:cxn ang="0">
                  <a:pos x="5" y="211"/>
                </a:cxn>
                <a:cxn ang="0">
                  <a:pos x="0" y="180"/>
                </a:cxn>
                <a:cxn ang="0">
                  <a:pos x="0" y="162"/>
                </a:cxn>
                <a:cxn ang="0">
                  <a:pos x="2" y="131"/>
                </a:cxn>
                <a:cxn ang="0">
                  <a:pos x="11" y="100"/>
                </a:cxn>
                <a:cxn ang="0">
                  <a:pos x="27" y="72"/>
                </a:cxn>
                <a:cxn ang="0">
                  <a:pos x="46" y="49"/>
                </a:cxn>
                <a:cxn ang="0">
                  <a:pos x="70" y="28"/>
                </a:cxn>
                <a:cxn ang="0">
                  <a:pos x="97" y="14"/>
                </a:cxn>
                <a:cxn ang="0">
                  <a:pos x="128" y="4"/>
                </a:cxn>
                <a:cxn ang="0">
                  <a:pos x="162" y="0"/>
                </a:cxn>
                <a:cxn ang="0">
                  <a:pos x="177" y="2"/>
                </a:cxn>
                <a:cxn ang="0">
                  <a:pos x="208" y="8"/>
                </a:cxn>
                <a:cxn ang="0">
                  <a:pos x="238" y="20"/>
                </a:cxn>
                <a:cxn ang="0">
                  <a:pos x="265" y="37"/>
                </a:cxn>
                <a:cxn ang="0">
                  <a:pos x="286" y="61"/>
                </a:cxn>
                <a:cxn ang="0">
                  <a:pos x="304" y="86"/>
                </a:cxn>
                <a:cxn ang="0">
                  <a:pos x="316" y="115"/>
                </a:cxn>
                <a:cxn ang="0">
                  <a:pos x="322" y="147"/>
                </a:cxn>
                <a:cxn ang="0">
                  <a:pos x="324" y="162"/>
                </a:cxn>
                <a:cxn ang="0">
                  <a:pos x="320" y="199"/>
                </a:cxn>
                <a:cxn ang="0">
                  <a:pos x="308" y="233"/>
                </a:cxn>
                <a:cxn ang="0">
                  <a:pos x="290" y="262"/>
                </a:cxn>
                <a:cxn ang="0">
                  <a:pos x="267" y="285"/>
                </a:cxn>
              </a:cxnLst>
              <a:rect l="0" t="0" r="r" b="b"/>
              <a:pathLst>
                <a:path w="324" h="324">
                  <a:moveTo>
                    <a:pt x="253" y="297"/>
                  </a:moveTo>
                  <a:lnTo>
                    <a:pt x="253" y="297"/>
                  </a:lnTo>
                  <a:lnTo>
                    <a:pt x="232" y="309"/>
                  </a:lnTo>
                  <a:lnTo>
                    <a:pt x="210" y="319"/>
                  </a:lnTo>
                  <a:lnTo>
                    <a:pt x="187" y="323"/>
                  </a:lnTo>
                  <a:lnTo>
                    <a:pt x="162" y="324"/>
                  </a:lnTo>
                  <a:lnTo>
                    <a:pt x="162" y="324"/>
                  </a:lnTo>
                  <a:lnTo>
                    <a:pt x="144" y="324"/>
                  </a:lnTo>
                  <a:lnTo>
                    <a:pt x="128" y="323"/>
                  </a:lnTo>
                  <a:lnTo>
                    <a:pt x="113" y="319"/>
                  </a:lnTo>
                  <a:lnTo>
                    <a:pt x="97" y="313"/>
                  </a:lnTo>
                  <a:lnTo>
                    <a:pt x="83" y="305"/>
                  </a:lnTo>
                  <a:lnTo>
                    <a:pt x="70" y="297"/>
                  </a:lnTo>
                  <a:lnTo>
                    <a:pt x="58" y="289"/>
                  </a:lnTo>
                  <a:lnTo>
                    <a:pt x="46" y="278"/>
                  </a:lnTo>
                  <a:lnTo>
                    <a:pt x="37" y="266"/>
                  </a:lnTo>
                  <a:lnTo>
                    <a:pt x="27" y="254"/>
                  </a:lnTo>
                  <a:lnTo>
                    <a:pt x="19" y="240"/>
                  </a:lnTo>
                  <a:lnTo>
                    <a:pt x="11" y="227"/>
                  </a:lnTo>
                  <a:lnTo>
                    <a:pt x="5" y="211"/>
                  </a:lnTo>
                  <a:lnTo>
                    <a:pt x="2" y="196"/>
                  </a:lnTo>
                  <a:lnTo>
                    <a:pt x="0" y="180"/>
                  </a:lnTo>
                  <a:lnTo>
                    <a:pt x="0" y="162"/>
                  </a:lnTo>
                  <a:lnTo>
                    <a:pt x="0" y="162"/>
                  </a:lnTo>
                  <a:lnTo>
                    <a:pt x="0" y="147"/>
                  </a:lnTo>
                  <a:lnTo>
                    <a:pt x="2" y="131"/>
                  </a:lnTo>
                  <a:lnTo>
                    <a:pt x="5" y="115"/>
                  </a:lnTo>
                  <a:lnTo>
                    <a:pt x="11" y="100"/>
                  </a:lnTo>
                  <a:lnTo>
                    <a:pt x="19" y="86"/>
                  </a:lnTo>
                  <a:lnTo>
                    <a:pt x="27" y="72"/>
                  </a:lnTo>
                  <a:lnTo>
                    <a:pt x="37" y="61"/>
                  </a:lnTo>
                  <a:lnTo>
                    <a:pt x="46" y="49"/>
                  </a:lnTo>
                  <a:lnTo>
                    <a:pt x="58" y="37"/>
                  </a:lnTo>
                  <a:lnTo>
                    <a:pt x="70" y="28"/>
                  </a:lnTo>
                  <a:lnTo>
                    <a:pt x="83" y="20"/>
                  </a:lnTo>
                  <a:lnTo>
                    <a:pt x="97" y="14"/>
                  </a:lnTo>
                  <a:lnTo>
                    <a:pt x="113" y="8"/>
                  </a:lnTo>
                  <a:lnTo>
                    <a:pt x="128" y="4"/>
                  </a:lnTo>
                  <a:lnTo>
                    <a:pt x="144" y="2"/>
                  </a:lnTo>
                  <a:lnTo>
                    <a:pt x="162" y="0"/>
                  </a:lnTo>
                  <a:lnTo>
                    <a:pt x="162" y="0"/>
                  </a:lnTo>
                  <a:lnTo>
                    <a:pt x="177" y="2"/>
                  </a:lnTo>
                  <a:lnTo>
                    <a:pt x="193" y="4"/>
                  </a:lnTo>
                  <a:lnTo>
                    <a:pt x="208" y="8"/>
                  </a:lnTo>
                  <a:lnTo>
                    <a:pt x="224" y="14"/>
                  </a:lnTo>
                  <a:lnTo>
                    <a:pt x="238" y="20"/>
                  </a:lnTo>
                  <a:lnTo>
                    <a:pt x="251" y="28"/>
                  </a:lnTo>
                  <a:lnTo>
                    <a:pt x="265" y="37"/>
                  </a:lnTo>
                  <a:lnTo>
                    <a:pt x="275" y="49"/>
                  </a:lnTo>
                  <a:lnTo>
                    <a:pt x="286" y="61"/>
                  </a:lnTo>
                  <a:lnTo>
                    <a:pt x="296" y="72"/>
                  </a:lnTo>
                  <a:lnTo>
                    <a:pt x="304" y="86"/>
                  </a:lnTo>
                  <a:lnTo>
                    <a:pt x="310" y="100"/>
                  </a:lnTo>
                  <a:lnTo>
                    <a:pt x="316" y="115"/>
                  </a:lnTo>
                  <a:lnTo>
                    <a:pt x="320" y="131"/>
                  </a:lnTo>
                  <a:lnTo>
                    <a:pt x="322" y="147"/>
                  </a:lnTo>
                  <a:lnTo>
                    <a:pt x="324" y="162"/>
                  </a:lnTo>
                  <a:lnTo>
                    <a:pt x="324" y="162"/>
                  </a:lnTo>
                  <a:lnTo>
                    <a:pt x="322" y="182"/>
                  </a:lnTo>
                  <a:lnTo>
                    <a:pt x="320" y="199"/>
                  </a:lnTo>
                  <a:lnTo>
                    <a:pt x="314" y="215"/>
                  </a:lnTo>
                  <a:lnTo>
                    <a:pt x="308" y="233"/>
                  </a:lnTo>
                  <a:lnTo>
                    <a:pt x="300" y="246"/>
                  </a:lnTo>
                  <a:lnTo>
                    <a:pt x="290" y="262"/>
                  </a:lnTo>
                  <a:lnTo>
                    <a:pt x="279" y="274"/>
                  </a:lnTo>
                  <a:lnTo>
                    <a:pt x="267" y="28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6"/>
            <p:cNvSpPr>
              <a:spLocks/>
            </p:cNvSpPr>
            <p:nvPr/>
          </p:nvSpPr>
          <p:spPr bwMode="auto">
            <a:xfrm>
              <a:off x="2896" y="3835"/>
              <a:ext cx="18" cy="21"/>
            </a:xfrm>
            <a:custGeom>
              <a:avLst/>
              <a:gdLst/>
              <a:ahLst/>
              <a:cxnLst>
                <a:cxn ang="0">
                  <a:pos x="35" y="21"/>
                </a:cxn>
                <a:cxn ang="0">
                  <a:pos x="35" y="41"/>
                </a:cxn>
                <a:cxn ang="0">
                  <a:pos x="18" y="29"/>
                </a:cxn>
                <a:cxn ang="0">
                  <a:pos x="0" y="20"/>
                </a:cxn>
                <a:cxn ang="0">
                  <a:pos x="18" y="10"/>
                </a:cxn>
                <a:cxn ang="0">
                  <a:pos x="35" y="0"/>
                </a:cxn>
                <a:cxn ang="0">
                  <a:pos x="35" y="21"/>
                </a:cxn>
              </a:cxnLst>
              <a:rect l="0" t="0" r="r" b="b"/>
              <a:pathLst>
                <a:path w="35" h="41">
                  <a:moveTo>
                    <a:pt x="35" y="21"/>
                  </a:moveTo>
                  <a:lnTo>
                    <a:pt x="35" y="41"/>
                  </a:lnTo>
                  <a:lnTo>
                    <a:pt x="18" y="29"/>
                  </a:lnTo>
                  <a:lnTo>
                    <a:pt x="0" y="20"/>
                  </a:lnTo>
                  <a:lnTo>
                    <a:pt x="18" y="10"/>
                  </a:lnTo>
                  <a:lnTo>
                    <a:pt x="35" y="0"/>
                  </a:lnTo>
                  <a:lnTo>
                    <a:pt x="35"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37"/>
            <p:cNvSpPr>
              <a:spLocks/>
            </p:cNvSpPr>
            <p:nvPr/>
          </p:nvSpPr>
          <p:spPr bwMode="auto">
            <a:xfrm>
              <a:off x="2874" y="3754"/>
              <a:ext cx="21" cy="21"/>
            </a:xfrm>
            <a:custGeom>
              <a:avLst/>
              <a:gdLst/>
              <a:ahLst/>
              <a:cxnLst>
                <a:cxn ang="0">
                  <a:pos x="14" y="23"/>
                </a:cxn>
                <a:cxn ang="0">
                  <a:pos x="0" y="6"/>
                </a:cxn>
                <a:cxn ang="0">
                  <a:pos x="22" y="4"/>
                </a:cxn>
                <a:cxn ang="0">
                  <a:pos x="43" y="0"/>
                </a:cxn>
                <a:cxn ang="0">
                  <a:pos x="35" y="19"/>
                </a:cxn>
                <a:cxn ang="0">
                  <a:pos x="26" y="41"/>
                </a:cxn>
                <a:cxn ang="0">
                  <a:pos x="14" y="23"/>
                </a:cxn>
              </a:cxnLst>
              <a:rect l="0" t="0" r="r" b="b"/>
              <a:pathLst>
                <a:path w="43" h="41">
                  <a:moveTo>
                    <a:pt x="14" y="23"/>
                  </a:moveTo>
                  <a:lnTo>
                    <a:pt x="0" y="6"/>
                  </a:lnTo>
                  <a:lnTo>
                    <a:pt x="22" y="4"/>
                  </a:lnTo>
                  <a:lnTo>
                    <a:pt x="43" y="0"/>
                  </a:lnTo>
                  <a:lnTo>
                    <a:pt x="35" y="19"/>
                  </a:lnTo>
                  <a:lnTo>
                    <a:pt x="26" y="41"/>
                  </a:lnTo>
                  <a:lnTo>
                    <a:pt x="14" y="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38"/>
            <p:cNvSpPr>
              <a:spLocks/>
            </p:cNvSpPr>
            <p:nvPr/>
          </p:nvSpPr>
          <p:spPr bwMode="auto">
            <a:xfrm>
              <a:off x="2996" y="3835"/>
              <a:ext cx="17" cy="17"/>
            </a:xfrm>
            <a:custGeom>
              <a:avLst/>
              <a:gdLst/>
              <a:ahLst/>
              <a:cxnLst>
                <a:cxn ang="0">
                  <a:pos x="31" y="18"/>
                </a:cxn>
                <a:cxn ang="0">
                  <a:pos x="35" y="35"/>
                </a:cxn>
                <a:cxn ang="0">
                  <a:pos x="18" y="29"/>
                </a:cxn>
                <a:cxn ang="0">
                  <a:pos x="0" y="23"/>
                </a:cxn>
                <a:cxn ang="0">
                  <a:pos x="14" y="12"/>
                </a:cxn>
                <a:cxn ang="0">
                  <a:pos x="28" y="0"/>
                </a:cxn>
                <a:cxn ang="0">
                  <a:pos x="31" y="18"/>
                </a:cxn>
              </a:cxnLst>
              <a:rect l="0" t="0" r="r" b="b"/>
              <a:pathLst>
                <a:path w="35" h="35">
                  <a:moveTo>
                    <a:pt x="31" y="18"/>
                  </a:moveTo>
                  <a:lnTo>
                    <a:pt x="35" y="35"/>
                  </a:lnTo>
                  <a:lnTo>
                    <a:pt x="18" y="29"/>
                  </a:lnTo>
                  <a:lnTo>
                    <a:pt x="0" y="23"/>
                  </a:lnTo>
                  <a:lnTo>
                    <a:pt x="14" y="12"/>
                  </a:lnTo>
                  <a:lnTo>
                    <a:pt x="28" y="0"/>
                  </a:lnTo>
                  <a:lnTo>
                    <a:pt x="31" y="1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39"/>
            <p:cNvSpPr>
              <a:spLocks/>
            </p:cNvSpPr>
            <p:nvPr/>
          </p:nvSpPr>
          <p:spPr bwMode="auto">
            <a:xfrm>
              <a:off x="2996" y="3720"/>
              <a:ext cx="16" cy="19"/>
            </a:xfrm>
            <a:custGeom>
              <a:avLst/>
              <a:gdLst/>
              <a:ahLst/>
              <a:cxnLst>
                <a:cxn ang="0">
                  <a:pos x="16" y="28"/>
                </a:cxn>
                <a:cxn ang="0">
                  <a:pos x="0" y="38"/>
                </a:cxn>
                <a:cxn ang="0">
                  <a:pos x="0" y="18"/>
                </a:cxn>
                <a:cxn ang="0">
                  <a:pos x="0" y="0"/>
                </a:cxn>
                <a:cxn ang="0">
                  <a:pos x="16" y="8"/>
                </a:cxn>
                <a:cxn ang="0">
                  <a:pos x="33" y="18"/>
                </a:cxn>
                <a:cxn ang="0">
                  <a:pos x="16" y="28"/>
                </a:cxn>
              </a:cxnLst>
              <a:rect l="0" t="0" r="r" b="b"/>
              <a:pathLst>
                <a:path w="33" h="38">
                  <a:moveTo>
                    <a:pt x="16" y="28"/>
                  </a:moveTo>
                  <a:lnTo>
                    <a:pt x="0" y="38"/>
                  </a:lnTo>
                  <a:lnTo>
                    <a:pt x="0" y="18"/>
                  </a:lnTo>
                  <a:lnTo>
                    <a:pt x="0" y="0"/>
                  </a:lnTo>
                  <a:lnTo>
                    <a:pt x="16" y="8"/>
                  </a:lnTo>
                  <a:lnTo>
                    <a:pt x="33" y="18"/>
                  </a:lnTo>
                  <a:lnTo>
                    <a:pt x="16" y="2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
            <p:cNvSpPr>
              <a:spLocks/>
            </p:cNvSpPr>
            <p:nvPr/>
          </p:nvSpPr>
          <p:spPr bwMode="auto">
            <a:xfrm>
              <a:off x="3097" y="3675"/>
              <a:ext cx="17" cy="19"/>
            </a:xfrm>
            <a:custGeom>
              <a:avLst/>
              <a:gdLst/>
              <a:ahLst/>
              <a:cxnLst>
                <a:cxn ang="0">
                  <a:pos x="2" y="17"/>
                </a:cxn>
                <a:cxn ang="0">
                  <a:pos x="0" y="0"/>
                </a:cxn>
                <a:cxn ang="0">
                  <a:pos x="18" y="7"/>
                </a:cxn>
                <a:cxn ang="0">
                  <a:pos x="33" y="17"/>
                </a:cxn>
                <a:cxn ang="0">
                  <a:pos x="18" y="27"/>
                </a:cxn>
                <a:cxn ang="0">
                  <a:pos x="2" y="37"/>
                </a:cxn>
                <a:cxn ang="0">
                  <a:pos x="2" y="17"/>
                </a:cxn>
              </a:cxnLst>
              <a:rect l="0" t="0" r="r" b="b"/>
              <a:pathLst>
                <a:path w="33" h="37">
                  <a:moveTo>
                    <a:pt x="2" y="17"/>
                  </a:moveTo>
                  <a:lnTo>
                    <a:pt x="0" y="0"/>
                  </a:lnTo>
                  <a:lnTo>
                    <a:pt x="18" y="7"/>
                  </a:lnTo>
                  <a:lnTo>
                    <a:pt x="33" y="17"/>
                  </a:lnTo>
                  <a:lnTo>
                    <a:pt x="18" y="27"/>
                  </a:lnTo>
                  <a:lnTo>
                    <a:pt x="2" y="37"/>
                  </a:lnTo>
                  <a:lnTo>
                    <a:pt x="2"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41"/>
            <p:cNvSpPr>
              <a:spLocks/>
            </p:cNvSpPr>
            <p:nvPr/>
          </p:nvSpPr>
          <p:spPr bwMode="auto">
            <a:xfrm>
              <a:off x="3137" y="3830"/>
              <a:ext cx="21" cy="18"/>
            </a:xfrm>
            <a:custGeom>
              <a:avLst/>
              <a:gdLst/>
              <a:ahLst/>
              <a:cxnLst>
                <a:cxn ang="0">
                  <a:pos x="14" y="22"/>
                </a:cxn>
                <a:cxn ang="0">
                  <a:pos x="0" y="6"/>
                </a:cxn>
                <a:cxn ang="0">
                  <a:pos x="22" y="4"/>
                </a:cxn>
                <a:cxn ang="0">
                  <a:pos x="41" y="0"/>
                </a:cxn>
                <a:cxn ang="0">
                  <a:pos x="39" y="6"/>
                </a:cxn>
                <a:cxn ang="0">
                  <a:pos x="33" y="20"/>
                </a:cxn>
                <a:cxn ang="0">
                  <a:pos x="28" y="37"/>
                </a:cxn>
                <a:cxn ang="0">
                  <a:pos x="14" y="22"/>
                </a:cxn>
              </a:cxnLst>
              <a:rect l="0" t="0" r="r" b="b"/>
              <a:pathLst>
                <a:path w="41" h="37">
                  <a:moveTo>
                    <a:pt x="14" y="22"/>
                  </a:moveTo>
                  <a:lnTo>
                    <a:pt x="0" y="6"/>
                  </a:lnTo>
                  <a:lnTo>
                    <a:pt x="22" y="4"/>
                  </a:lnTo>
                  <a:lnTo>
                    <a:pt x="41" y="0"/>
                  </a:lnTo>
                  <a:lnTo>
                    <a:pt x="39" y="6"/>
                  </a:lnTo>
                  <a:lnTo>
                    <a:pt x="33" y="20"/>
                  </a:lnTo>
                  <a:lnTo>
                    <a:pt x="28" y="37"/>
                  </a:lnTo>
                  <a:lnTo>
                    <a:pt x="14" y="2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42"/>
            <p:cNvSpPr>
              <a:spLocks/>
            </p:cNvSpPr>
            <p:nvPr/>
          </p:nvSpPr>
          <p:spPr bwMode="auto">
            <a:xfrm>
              <a:off x="2953" y="3523"/>
              <a:ext cx="43" cy="42"/>
            </a:xfrm>
            <a:custGeom>
              <a:avLst/>
              <a:gdLst/>
              <a:ahLst/>
              <a:cxnLst>
                <a:cxn ang="0">
                  <a:pos x="32" y="2"/>
                </a:cxn>
                <a:cxn ang="0">
                  <a:pos x="32" y="2"/>
                </a:cxn>
                <a:cxn ang="0">
                  <a:pos x="39" y="0"/>
                </a:cxn>
                <a:cxn ang="0">
                  <a:pos x="49" y="0"/>
                </a:cxn>
                <a:cxn ang="0">
                  <a:pos x="57" y="2"/>
                </a:cxn>
                <a:cxn ang="0">
                  <a:pos x="65" y="6"/>
                </a:cxn>
                <a:cxn ang="0">
                  <a:pos x="71" y="10"/>
                </a:cxn>
                <a:cxn ang="0">
                  <a:pos x="76" y="16"/>
                </a:cxn>
                <a:cxn ang="0">
                  <a:pos x="80" y="23"/>
                </a:cxn>
                <a:cxn ang="0">
                  <a:pos x="84" y="31"/>
                </a:cxn>
                <a:cxn ang="0">
                  <a:pos x="84" y="31"/>
                </a:cxn>
                <a:cxn ang="0">
                  <a:pos x="86" y="39"/>
                </a:cxn>
                <a:cxn ang="0">
                  <a:pos x="86" y="47"/>
                </a:cxn>
                <a:cxn ang="0">
                  <a:pos x="84" y="55"/>
                </a:cxn>
                <a:cxn ang="0">
                  <a:pos x="80" y="62"/>
                </a:cxn>
                <a:cxn ang="0">
                  <a:pos x="76" y="70"/>
                </a:cxn>
                <a:cxn ang="0">
                  <a:pos x="71" y="76"/>
                </a:cxn>
                <a:cxn ang="0">
                  <a:pos x="63" y="80"/>
                </a:cxn>
                <a:cxn ang="0">
                  <a:pos x="55" y="84"/>
                </a:cxn>
                <a:cxn ang="0">
                  <a:pos x="55" y="84"/>
                </a:cxn>
                <a:cxn ang="0">
                  <a:pos x="45" y="84"/>
                </a:cxn>
                <a:cxn ang="0">
                  <a:pos x="37" y="84"/>
                </a:cxn>
                <a:cxn ang="0">
                  <a:pos x="30" y="82"/>
                </a:cxn>
                <a:cxn ang="0">
                  <a:pos x="22" y="80"/>
                </a:cxn>
                <a:cxn ang="0">
                  <a:pos x="16" y="74"/>
                </a:cxn>
                <a:cxn ang="0">
                  <a:pos x="10" y="68"/>
                </a:cxn>
                <a:cxn ang="0">
                  <a:pos x="6" y="62"/>
                </a:cxn>
                <a:cxn ang="0">
                  <a:pos x="2" y="55"/>
                </a:cxn>
                <a:cxn ang="0">
                  <a:pos x="2" y="55"/>
                </a:cxn>
                <a:cxn ang="0">
                  <a:pos x="0" y="45"/>
                </a:cxn>
                <a:cxn ang="0">
                  <a:pos x="0" y="37"/>
                </a:cxn>
                <a:cxn ang="0">
                  <a:pos x="2" y="29"/>
                </a:cxn>
                <a:cxn ang="0">
                  <a:pos x="6" y="21"/>
                </a:cxn>
                <a:cxn ang="0">
                  <a:pos x="10" y="16"/>
                </a:cxn>
                <a:cxn ang="0">
                  <a:pos x="16" y="10"/>
                </a:cxn>
                <a:cxn ang="0">
                  <a:pos x="24" y="4"/>
                </a:cxn>
                <a:cxn ang="0">
                  <a:pos x="32" y="2"/>
                </a:cxn>
                <a:cxn ang="0">
                  <a:pos x="32" y="2"/>
                </a:cxn>
              </a:cxnLst>
              <a:rect l="0" t="0" r="r" b="b"/>
              <a:pathLst>
                <a:path w="86" h="84">
                  <a:moveTo>
                    <a:pt x="32" y="2"/>
                  </a:moveTo>
                  <a:lnTo>
                    <a:pt x="32" y="2"/>
                  </a:lnTo>
                  <a:lnTo>
                    <a:pt x="39" y="0"/>
                  </a:lnTo>
                  <a:lnTo>
                    <a:pt x="49" y="0"/>
                  </a:lnTo>
                  <a:lnTo>
                    <a:pt x="57" y="2"/>
                  </a:lnTo>
                  <a:lnTo>
                    <a:pt x="65" y="6"/>
                  </a:lnTo>
                  <a:lnTo>
                    <a:pt x="71" y="10"/>
                  </a:lnTo>
                  <a:lnTo>
                    <a:pt x="76" y="16"/>
                  </a:lnTo>
                  <a:lnTo>
                    <a:pt x="80" y="23"/>
                  </a:lnTo>
                  <a:lnTo>
                    <a:pt x="84" y="31"/>
                  </a:lnTo>
                  <a:lnTo>
                    <a:pt x="84" y="31"/>
                  </a:lnTo>
                  <a:lnTo>
                    <a:pt x="86" y="39"/>
                  </a:lnTo>
                  <a:lnTo>
                    <a:pt x="86" y="47"/>
                  </a:lnTo>
                  <a:lnTo>
                    <a:pt x="84" y="55"/>
                  </a:lnTo>
                  <a:lnTo>
                    <a:pt x="80" y="62"/>
                  </a:lnTo>
                  <a:lnTo>
                    <a:pt x="76" y="70"/>
                  </a:lnTo>
                  <a:lnTo>
                    <a:pt x="71" y="76"/>
                  </a:lnTo>
                  <a:lnTo>
                    <a:pt x="63" y="80"/>
                  </a:lnTo>
                  <a:lnTo>
                    <a:pt x="55" y="84"/>
                  </a:lnTo>
                  <a:lnTo>
                    <a:pt x="55" y="84"/>
                  </a:lnTo>
                  <a:lnTo>
                    <a:pt x="45" y="84"/>
                  </a:lnTo>
                  <a:lnTo>
                    <a:pt x="37" y="84"/>
                  </a:lnTo>
                  <a:lnTo>
                    <a:pt x="30" y="82"/>
                  </a:lnTo>
                  <a:lnTo>
                    <a:pt x="22" y="80"/>
                  </a:lnTo>
                  <a:lnTo>
                    <a:pt x="16" y="74"/>
                  </a:lnTo>
                  <a:lnTo>
                    <a:pt x="10" y="68"/>
                  </a:lnTo>
                  <a:lnTo>
                    <a:pt x="6" y="62"/>
                  </a:lnTo>
                  <a:lnTo>
                    <a:pt x="2" y="55"/>
                  </a:lnTo>
                  <a:lnTo>
                    <a:pt x="2" y="55"/>
                  </a:lnTo>
                  <a:lnTo>
                    <a:pt x="0" y="45"/>
                  </a:lnTo>
                  <a:lnTo>
                    <a:pt x="0" y="37"/>
                  </a:lnTo>
                  <a:lnTo>
                    <a:pt x="2" y="29"/>
                  </a:lnTo>
                  <a:lnTo>
                    <a:pt x="6" y="21"/>
                  </a:lnTo>
                  <a:lnTo>
                    <a:pt x="10" y="16"/>
                  </a:lnTo>
                  <a:lnTo>
                    <a:pt x="16" y="10"/>
                  </a:lnTo>
                  <a:lnTo>
                    <a:pt x="24" y="4"/>
                  </a:lnTo>
                  <a:lnTo>
                    <a:pt x="32" y="2"/>
                  </a:lnTo>
                  <a:lnTo>
                    <a:pt x="32" y="2"/>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43"/>
            <p:cNvSpPr>
              <a:spLocks/>
            </p:cNvSpPr>
            <p:nvPr/>
          </p:nvSpPr>
          <p:spPr bwMode="auto">
            <a:xfrm>
              <a:off x="2893" y="3561"/>
              <a:ext cx="44" cy="56"/>
            </a:xfrm>
            <a:custGeom>
              <a:avLst/>
              <a:gdLst/>
              <a:ahLst/>
              <a:cxnLst>
                <a:cxn ang="0">
                  <a:pos x="67" y="65"/>
                </a:cxn>
                <a:cxn ang="0">
                  <a:pos x="35" y="104"/>
                </a:cxn>
                <a:cxn ang="0">
                  <a:pos x="35" y="104"/>
                </a:cxn>
                <a:cxn ang="0">
                  <a:pos x="30" y="108"/>
                </a:cxn>
                <a:cxn ang="0">
                  <a:pos x="22" y="111"/>
                </a:cxn>
                <a:cxn ang="0">
                  <a:pos x="14" y="111"/>
                </a:cxn>
                <a:cxn ang="0">
                  <a:pos x="8" y="108"/>
                </a:cxn>
                <a:cxn ang="0">
                  <a:pos x="8" y="108"/>
                </a:cxn>
                <a:cxn ang="0">
                  <a:pos x="2" y="104"/>
                </a:cxn>
                <a:cxn ang="0">
                  <a:pos x="0" y="96"/>
                </a:cxn>
                <a:cxn ang="0">
                  <a:pos x="0" y="88"/>
                </a:cxn>
                <a:cxn ang="0">
                  <a:pos x="2" y="82"/>
                </a:cxn>
                <a:cxn ang="0">
                  <a:pos x="30" y="41"/>
                </a:cxn>
                <a:cxn ang="0">
                  <a:pos x="30" y="41"/>
                </a:cxn>
                <a:cxn ang="0">
                  <a:pos x="35" y="31"/>
                </a:cxn>
                <a:cxn ang="0">
                  <a:pos x="41" y="25"/>
                </a:cxn>
                <a:cxn ang="0">
                  <a:pos x="88" y="0"/>
                </a:cxn>
                <a:cxn ang="0">
                  <a:pos x="88" y="0"/>
                </a:cxn>
                <a:cxn ang="0">
                  <a:pos x="86" y="2"/>
                </a:cxn>
              </a:cxnLst>
              <a:rect l="0" t="0" r="r" b="b"/>
              <a:pathLst>
                <a:path w="88" h="111">
                  <a:moveTo>
                    <a:pt x="67" y="65"/>
                  </a:moveTo>
                  <a:lnTo>
                    <a:pt x="35" y="104"/>
                  </a:lnTo>
                  <a:lnTo>
                    <a:pt x="35" y="104"/>
                  </a:lnTo>
                  <a:lnTo>
                    <a:pt x="30" y="108"/>
                  </a:lnTo>
                  <a:lnTo>
                    <a:pt x="22" y="111"/>
                  </a:lnTo>
                  <a:lnTo>
                    <a:pt x="14" y="111"/>
                  </a:lnTo>
                  <a:lnTo>
                    <a:pt x="8" y="108"/>
                  </a:lnTo>
                  <a:lnTo>
                    <a:pt x="8" y="108"/>
                  </a:lnTo>
                  <a:lnTo>
                    <a:pt x="2" y="104"/>
                  </a:lnTo>
                  <a:lnTo>
                    <a:pt x="0" y="96"/>
                  </a:lnTo>
                  <a:lnTo>
                    <a:pt x="0" y="88"/>
                  </a:lnTo>
                  <a:lnTo>
                    <a:pt x="2" y="82"/>
                  </a:lnTo>
                  <a:lnTo>
                    <a:pt x="30" y="41"/>
                  </a:lnTo>
                  <a:lnTo>
                    <a:pt x="30" y="41"/>
                  </a:lnTo>
                  <a:lnTo>
                    <a:pt x="35" y="31"/>
                  </a:lnTo>
                  <a:lnTo>
                    <a:pt x="41" y="25"/>
                  </a:lnTo>
                  <a:lnTo>
                    <a:pt x="88" y="0"/>
                  </a:lnTo>
                  <a:lnTo>
                    <a:pt x="88" y="0"/>
                  </a:lnTo>
                  <a:lnTo>
                    <a:pt x="86" y="2"/>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4"/>
            <p:cNvSpPr>
              <a:spLocks/>
            </p:cNvSpPr>
            <p:nvPr/>
          </p:nvSpPr>
          <p:spPr bwMode="auto">
            <a:xfrm>
              <a:off x="2915" y="3569"/>
              <a:ext cx="17" cy="99"/>
            </a:xfrm>
            <a:custGeom>
              <a:avLst/>
              <a:gdLst/>
              <a:ahLst/>
              <a:cxnLst>
                <a:cxn ang="0">
                  <a:pos x="0" y="193"/>
                </a:cxn>
                <a:cxn ang="0">
                  <a:pos x="26" y="199"/>
                </a:cxn>
                <a:cxn ang="0">
                  <a:pos x="35" y="152"/>
                </a:cxn>
                <a:cxn ang="0">
                  <a:pos x="35" y="152"/>
                </a:cxn>
                <a:cxn ang="0">
                  <a:pos x="31" y="138"/>
                </a:cxn>
                <a:cxn ang="0">
                  <a:pos x="31" y="138"/>
                </a:cxn>
                <a:cxn ang="0">
                  <a:pos x="26" y="105"/>
                </a:cxn>
                <a:cxn ang="0">
                  <a:pos x="24" y="72"/>
                </a:cxn>
                <a:cxn ang="0">
                  <a:pos x="24" y="72"/>
                </a:cxn>
                <a:cxn ang="0">
                  <a:pos x="24" y="62"/>
                </a:cxn>
                <a:cxn ang="0">
                  <a:pos x="24" y="62"/>
                </a:cxn>
                <a:cxn ang="0">
                  <a:pos x="24" y="39"/>
                </a:cxn>
                <a:cxn ang="0">
                  <a:pos x="24" y="19"/>
                </a:cxn>
                <a:cxn ang="0">
                  <a:pos x="28" y="0"/>
                </a:cxn>
              </a:cxnLst>
              <a:rect l="0" t="0" r="r" b="b"/>
              <a:pathLst>
                <a:path w="35" h="199">
                  <a:moveTo>
                    <a:pt x="0" y="193"/>
                  </a:moveTo>
                  <a:lnTo>
                    <a:pt x="26" y="199"/>
                  </a:lnTo>
                  <a:lnTo>
                    <a:pt x="35" y="152"/>
                  </a:lnTo>
                  <a:lnTo>
                    <a:pt x="35" y="152"/>
                  </a:lnTo>
                  <a:lnTo>
                    <a:pt x="31" y="138"/>
                  </a:lnTo>
                  <a:lnTo>
                    <a:pt x="31" y="138"/>
                  </a:lnTo>
                  <a:lnTo>
                    <a:pt x="26" y="105"/>
                  </a:lnTo>
                  <a:lnTo>
                    <a:pt x="24" y="72"/>
                  </a:lnTo>
                  <a:lnTo>
                    <a:pt x="24" y="72"/>
                  </a:lnTo>
                  <a:lnTo>
                    <a:pt x="24" y="62"/>
                  </a:lnTo>
                  <a:lnTo>
                    <a:pt x="24" y="62"/>
                  </a:lnTo>
                  <a:lnTo>
                    <a:pt x="24" y="39"/>
                  </a:lnTo>
                  <a:lnTo>
                    <a:pt x="24" y="19"/>
                  </a:lnTo>
                  <a:lnTo>
                    <a:pt x="28" y="0"/>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45"/>
            <p:cNvSpPr>
              <a:spLocks/>
            </p:cNvSpPr>
            <p:nvPr/>
          </p:nvSpPr>
          <p:spPr bwMode="auto">
            <a:xfrm>
              <a:off x="2873" y="3615"/>
              <a:ext cx="163" cy="101"/>
            </a:xfrm>
            <a:custGeom>
              <a:avLst/>
              <a:gdLst/>
              <a:ahLst/>
              <a:cxnLst>
                <a:cxn ang="0">
                  <a:pos x="184" y="0"/>
                </a:cxn>
                <a:cxn ang="0">
                  <a:pos x="184" y="0"/>
                </a:cxn>
                <a:cxn ang="0">
                  <a:pos x="190" y="35"/>
                </a:cxn>
                <a:cxn ang="0">
                  <a:pos x="190" y="35"/>
                </a:cxn>
                <a:cxn ang="0">
                  <a:pos x="190" y="39"/>
                </a:cxn>
                <a:cxn ang="0">
                  <a:pos x="250" y="76"/>
                </a:cxn>
                <a:cxn ang="0">
                  <a:pos x="250" y="76"/>
                </a:cxn>
                <a:cxn ang="0">
                  <a:pos x="256" y="82"/>
                </a:cxn>
                <a:cxn ang="0">
                  <a:pos x="256" y="82"/>
                </a:cxn>
                <a:cxn ang="0">
                  <a:pos x="320" y="154"/>
                </a:cxn>
                <a:cxn ang="0">
                  <a:pos x="320" y="154"/>
                </a:cxn>
                <a:cxn ang="0">
                  <a:pos x="324" y="158"/>
                </a:cxn>
                <a:cxn ang="0">
                  <a:pos x="326" y="164"/>
                </a:cxn>
                <a:cxn ang="0">
                  <a:pos x="326" y="175"/>
                </a:cxn>
                <a:cxn ang="0">
                  <a:pos x="324" y="185"/>
                </a:cxn>
                <a:cxn ang="0">
                  <a:pos x="320" y="191"/>
                </a:cxn>
                <a:cxn ang="0">
                  <a:pos x="316" y="195"/>
                </a:cxn>
                <a:cxn ang="0">
                  <a:pos x="316" y="195"/>
                </a:cxn>
                <a:cxn ang="0">
                  <a:pos x="313" y="199"/>
                </a:cxn>
                <a:cxn ang="0">
                  <a:pos x="307" y="201"/>
                </a:cxn>
                <a:cxn ang="0">
                  <a:pos x="297" y="203"/>
                </a:cxn>
                <a:cxn ang="0">
                  <a:pos x="285" y="199"/>
                </a:cxn>
                <a:cxn ang="0">
                  <a:pos x="281" y="197"/>
                </a:cxn>
                <a:cxn ang="0">
                  <a:pos x="277" y="193"/>
                </a:cxn>
                <a:cxn ang="0">
                  <a:pos x="217" y="123"/>
                </a:cxn>
                <a:cxn ang="0">
                  <a:pos x="170" y="95"/>
                </a:cxn>
                <a:cxn ang="0">
                  <a:pos x="160" y="146"/>
                </a:cxn>
                <a:cxn ang="0">
                  <a:pos x="160" y="146"/>
                </a:cxn>
                <a:cxn ang="0">
                  <a:pos x="160" y="152"/>
                </a:cxn>
                <a:cxn ang="0">
                  <a:pos x="156" y="156"/>
                </a:cxn>
                <a:cxn ang="0">
                  <a:pos x="149" y="164"/>
                </a:cxn>
                <a:cxn ang="0">
                  <a:pos x="139" y="169"/>
                </a:cxn>
                <a:cxn ang="0">
                  <a:pos x="133" y="169"/>
                </a:cxn>
                <a:cxn ang="0">
                  <a:pos x="127" y="169"/>
                </a:cxn>
                <a:cxn ang="0">
                  <a:pos x="127" y="169"/>
                </a:cxn>
                <a:cxn ang="0">
                  <a:pos x="127" y="169"/>
                </a:cxn>
                <a:cxn ang="0">
                  <a:pos x="24" y="148"/>
                </a:cxn>
                <a:cxn ang="0">
                  <a:pos x="24" y="148"/>
                </a:cxn>
                <a:cxn ang="0">
                  <a:pos x="18" y="146"/>
                </a:cxn>
                <a:cxn ang="0">
                  <a:pos x="12" y="144"/>
                </a:cxn>
                <a:cxn ang="0">
                  <a:pos x="4" y="136"/>
                </a:cxn>
                <a:cxn ang="0">
                  <a:pos x="0" y="126"/>
                </a:cxn>
                <a:cxn ang="0">
                  <a:pos x="0" y="121"/>
                </a:cxn>
                <a:cxn ang="0">
                  <a:pos x="0" y="115"/>
                </a:cxn>
                <a:cxn ang="0">
                  <a:pos x="0" y="115"/>
                </a:cxn>
                <a:cxn ang="0">
                  <a:pos x="2" y="109"/>
                </a:cxn>
                <a:cxn ang="0">
                  <a:pos x="4" y="103"/>
                </a:cxn>
                <a:cxn ang="0">
                  <a:pos x="12" y="95"/>
                </a:cxn>
                <a:cxn ang="0">
                  <a:pos x="22" y="91"/>
                </a:cxn>
                <a:cxn ang="0">
                  <a:pos x="28" y="91"/>
                </a:cxn>
                <a:cxn ang="0">
                  <a:pos x="33" y="91"/>
                </a:cxn>
                <a:cxn ang="0">
                  <a:pos x="51" y="95"/>
                </a:cxn>
              </a:cxnLst>
              <a:rect l="0" t="0" r="r" b="b"/>
              <a:pathLst>
                <a:path w="326" h="203">
                  <a:moveTo>
                    <a:pt x="184" y="0"/>
                  </a:moveTo>
                  <a:lnTo>
                    <a:pt x="184" y="0"/>
                  </a:lnTo>
                  <a:lnTo>
                    <a:pt x="190" y="35"/>
                  </a:lnTo>
                  <a:lnTo>
                    <a:pt x="190" y="35"/>
                  </a:lnTo>
                  <a:lnTo>
                    <a:pt x="190" y="39"/>
                  </a:lnTo>
                  <a:lnTo>
                    <a:pt x="250" y="76"/>
                  </a:lnTo>
                  <a:lnTo>
                    <a:pt x="250" y="76"/>
                  </a:lnTo>
                  <a:lnTo>
                    <a:pt x="256" y="82"/>
                  </a:lnTo>
                  <a:lnTo>
                    <a:pt x="256" y="82"/>
                  </a:lnTo>
                  <a:lnTo>
                    <a:pt x="320" y="154"/>
                  </a:lnTo>
                  <a:lnTo>
                    <a:pt x="320" y="154"/>
                  </a:lnTo>
                  <a:lnTo>
                    <a:pt x="324" y="158"/>
                  </a:lnTo>
                  <a:lnTo>
                    <a:pt x="326" y="164"/>
                  </a:lnTo>
                  <a:lnTo>
                    <a:pt x="326" y="175"/>
                  </a:lnTo>
                  <a:lnTo>
                    <a:pt x="324" y="185"/>
                  </a:lnTo>
                  <a:lnTo>
                    <a:pt x="320" y="191"/>
                  </a:lnTo>
                  <a:lnTo>
                    <a:pt x="316" y="195"/>
                  </a:lnTo>
                  <a:lnTo>
                    <a:pt x="316" y="195"/>
                  </a:lnTo>
                  <a:lnTo>
                    <a:pt x="313" y="199"/>
                  </a:lnTo>
                  <a:lnTo>
                    <a:pt x="307" y="201"/>
                  </a:lnTo>
                  <a:lnTo>
                    <a:pt x="297" y="203"/>
                  </a:lnTo>
                  <a:lnTo>
                    <a:pt x="285" y="199"/>
                  </a:lnTo>
                  <a:lnTo>
                    <a:pt x="281" y="197"/>
                  </a:lnTo>
                  <a:lnTo>
                    <a:pt x="277" y="193"/>
                  </a:lnTo>
                  <a:lnTo>
                    <a:pt x="217" y="123"/>
                  </a:lnTo>
                  <a:lnTo>
                    <a:pt x="170" y="95"/>
                  </a:lnTo>
                  <a:lnTo>
                    <a:pt x="160" y="146"/>
                  </a:lnTo>
                  <a:lnTo>
                    <a:pt x="160" y="146"/>
                  </a:lnTo>
                  <a:lnTo>
                    <a:pt x="160" y="152"/>
                  </a:lnTo>
                  <a:lnTo>
                    <a:pt x="156" y="156"/>
                  </a:lnTo>
                  <a:lnTo>
                    <a:pt x="149" y="164"/>
                  </a:lnTo>
                  <a:lnTo>
                    <a:pt x="139" y="169"/>
                  </a:lnTo>
                  <a:lnTo>
                    <a:pt x="133" y="169"/>
                  </a:lnTo>
                  <a:lnTo>
                    <a:pt x="127" y="169"/>
                  </a:lnTo>
                  <a:lnTo>
                    <a:pt x="127" y="169"/>
                  </a:lnTo>
                  <a:lnTo>
                    <a:pt x="127" y="169"/>
                  </a:lnTo>
                  <a:lnTo>
                    <a:pt x="24" y="148"/>
                  </a:lnTo>
                  <a:lnTo>
                    <a:pt x="24" y="148"/>
                  </a:lnTo>
                  <a:lnTo>
                    <a:pt x="18" y="146"/>
                  </a:lnTo>
                  <a:lnTo>
                    <a:pt x="12" y="144"/>
                  </a:lnTo>
                  <a:lnTo>
                    <a:pt x="4" y="136"/>
                  </a:lnTo>
                  <a:lnTo>
                    <a:pt x="0" y="126"/>
                  </a:lnTo>
                  <a:lnTo>
                    <a:pt x="0" y="121"/>
                  </a:lnTo>
                  <a:lnTo>
                    <a:pt x="0" y="115"/>
                  </a:lnTo>
                  <a:lnTo>
                    <a:pt x="0" y="115"/>
                  </a:lnTo>
                  <a:lnTo>
                    <a:pt x="2" y="109"/>
                  </a:lnTo>
                  <a:lnTo>
                    <a:pt x="4" y="103"/>
                  </a:lnTo>
                  <a:lnTo>
                    <a:pt x="12" y="95"/>
                  </a:lnTo>
                  <a:lnTo>
                    <a:pt x="22" y="91"/>
                  </a:lnTo>
                  <a:lnTo>
                    <a:pt x="28" y="91"/>
                  </a:lnTo>
                  <a:lnTo>
                    <a:pt x="33" y="91"/>
                  </a:lnTo>
                  <a:lnTo>
                    <a:pt x="51" y="9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46"/>
            <p:cNvSpPr>
              <a:spLocks/>
            </p:cNvSpPr>
            <p:nvPr/>
          </p:nvSpPr>
          <p:spPr bwMode="auto">
            <a:xfrm>
              <a:off x="2928" y="3558"/>
              <a:ext cx="37" cy="32"/>
            </a:xfrm>
            <a:custGeom>
              <a:avLst/>
              <a:gdLst/>
              <a:ahLst/>
              <a:cxnLst>
                <a:cxn ang="0">
                  <a:pos x="0" y="28"/>
                </a:cxn>
                <a:cxn ang="0">
                  <a:pos x="0" y="28"/>
                </a:cxn>
                <a:cxn ang="0">
                  <a:pos x="1" y="22"/>
                </a:cxn>
                <a:cxn ang="0">
                  <a:pos x="5" y="16"/>
                </a:cxn>
                <a:cxn ang="0">
                  <a:pos x="15" y="8"/>
                </a:cxn>
                <a:cxn ang="0">
                  <a:pos x="27" y="2"/>
                </a:cxn>
                <a:cxn ang="0">
                  <a:pos x="33" y="0"/>
                </a:cxn>
                <a:cxn ang="0">
                  <a:pos x="40" y="2"/>
                </a:cxn>
                <a:cxn ang="0">
                  <a:pos x="40" y="2"/>
                </a:cxn>
                <a:cxn ang="0">
                  <a:pos x="48" y="4"/>
                </a:cxn>
                <a:cxn ang="0">
                  <a:pos x="54" y="6"/>
                </a:cxn>
                <a:cxn ang="0">
                  <a:pos x="60" y="10"/>
                </a:cxn>
                <a:cxn ang="0">
                  <a:pos x="66" y="16"/>
                </a:cxn>
                <a:cxn ang="0">
                  <a:pos x="70" y="22"/>
                </a:cxn>
                <a:cxn ang="0">
                  <a:pos x="72" y="30"/>
                </a:cxn>
                <a:cxn ang="0">
                  <a:pos x="74" y="35"/>
                </a:cxn>
                <a:cxn ang="0">
                  <a:pos x="74" y="43"/>
                </a:cxn>
                <a:cxn ang="0">
                  <a:pos x="74" y="43"/>
                </a:cxn>
                <a:cxn ang="0">
                  <a:pos x="72" y="65"/>
                </a:cxn>
              </a:cxnLst>
              <a:rect l="0" t="0" r="r" b="b"/>
              <a:pathLst>
                <a:path w="74" h="65">
                  <a:moveTo>
                    <a:pt x="0" y="28"/>
                  </a:moveTo>
                  <a:lnTo>
                    <a:pt x="0" y="28"/>
                  </a:lnTo>
                  <a:lnTo>
                    <a:pt x="1" y="22"/>
                  </a:lnTo>
                  <a:lnTo>
                    <a:pt x="5" y="16"/>
                  </a:lnTo>
                  <a:lnTo>
                    <a:pt x="15" y="8"/>
                  </a:lnTo>
                  <a:lnTo>
                    <a:pt x="27" y="2"/>
                  </a:lnTo>
                  <a:lnTo>
                    <a:pt x="33" y="0"/>
                  </a:lnTo>
                  <a:lnTo>
                    <a:pt x="40" y="2"/>
                  </a:lnTo>
                  <a:lnTo>
                    <a:pt x="40" y="2"/>
                  </a:lnTo>
                  <a:lnTo>
                    <a:pt x="48" y="4"/>
                  </a:lnTo>
                  <a:lnTo>
                    <a:pt x="54" y="6"/>
                  </a:lnTo>
                  <a:lnTo>
                    <a:pt x="60" y="10"/>
                  </a:lnTo>
                  <a:lnTo>
                    <a:pt x="66" y="16"/>
                  </a:lnTo>
                  <a:lnTo>
                    <a:pt x="70" y="22"/>
                  </a:lnTo>
                  <a:lnTo>
                    <a:pt x="72" y="30"/>
                  </a:lnTo>
                  <a:lnTo>
                    <a:pt x="74" y="35"/>
                  </a:lnTo>
                  <a:lnTo>
                    <a:pt x="74" y="43"/>
                  </a:lnTo>
                  <a:lnTo>
                    <a:pt x="74" y="43"/>
                  </a:lnTo>
                  <a:lnTo>
                    <a:pt x="72" y="65"/>
                  </a:lnTo>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47"/>
            <p:cNvSpPr>
              <a:spLocks/>
            </p:cNvSpPr>
            <p:nvPr/>
          </p:nvSpPr>
          <p:spPr bwMode="auto">
            <a:xfrm>
              <a:off x="2930" y="3562"/>
              <a:ext cx="68" cy="62"/>
            </a:xfrm>
            <a:custGeom>
              <a:avLst/>
              <a:gdLst/>
              <a:ahLst/>
              <a:cxnLst>
                <a:cxn ang="0">
                  <a:pos x="2" y="29"/>
                </a:cxn>
                <a:cxn ang="0">
                  <a:pos x="2" y="29"/>
                </a:cxn>
                <a:cxn ang="0">
                  <a:pos x="0" y="23"/>
                </a:cxn>
                <a:cxn ang="0">
                  <a:pos x="0" y="16"/>
                </a:cxn>
                <a:cxn ang="0">
                  <a:pos x="2" y="8"/>
                </a:cxn>
                <a:cxn ang="0">
                  <a:pos x="8" y="4"/>
                </a:cxn>
                <a:cxn ang="0">
                  <a:pos x="8" y="4"/>
                </a:cxn>
                <a:cxn ang="0">
                  <a:pos x="16" y="0"/>
                </a:cxn>
                <a:cxn ang="0">
                  <a:pos x="24" y="0"/>
                </a:cxn>
                <a:cxn ang="0">
                  <a:pos x="30" y="4"/>
                </a:cxn>
                <a:cxn ang="0">
                  <a:pos x="36" y="10"/>
                </a:cxn>
                <a:cxn ang="0">
                  <a:pos x="69" y="63"/>
                </a:cxn>
                <a:cxn ang="0">
                  <a:pos x="123" y="86"/>
                </a:cxn>
                <a:cxn ang="0">
                  <a:pos x="123" y="86"/>
                </a:cxn>
                <a:cxn ang="0">
                  <a:pos x="129" y="90"/>
                </a:cxn>
                <a:cxn ang="0">
                  <a:pos x="133" y="96"/>
                </a:cxn>
                <a:cxn ang="0">
                  <a:pos x="135" y="104"/>
                </a:cxn>
                <a:cxn ang="0">
                  <a:pos x="133" y="111"/>
                </a:cxn>
                <a:cxn ang="0">
                  <a:pos x="133" y="111"/>
                </a:cxn>
                <a:cxn ang="0">
                  <a:pos x="129" y="117"/>
                </a:cxn>
                <a:cxn ang="0">
                  <a:pos x="121" y="121"/>
                </a:cxn>
                <a:cxn ang="0">
                  <a:pos x="116" y="123"/>
                </a:cxn>
                <a:cxn ang="0">
                  <a:pos x="108" y="121"/>
                </a:cxn>
                <a:cxn ang="0">
                  <a:pos x="49" y="96"/>
                </a:cxn>
                <a:cxn ang="0">
                  <a:pos x="49" y="96"/>
                </a:cxn>
                <a:cxn ang="0">
                  <a:pos x="43" y="94"/>
                </a:cxn>
                <a:cxn ang="0">
                  <a:pos x="39" y="88"/>
                </a:cxn>
                <a:cxn ang="0">
                  <a:pos x="2" y="29"/>
                </a:cxn>
              </a:cxnLst>
              <a:rect l="0" t="0" r="r" b="b"/>
              <a:pathLst>
                <a:path w="135" h="123">
                  <a:moveTo>
                    <a:pt x="2" y="29"/>
                  </a:moveTo>
                  <a:lnTo>
                    <a:pt x="2" y="29"/>
                  </a:lnTo>
                  <a:lnTo>
                    <a:pt x="0" y="23"/>
                  </a:lnTo>
                  <a:lnTo>
                    <a:pt x="0" y="16"/>
                  </a:lnTo>
                  <a:lnTo>
                    <a:pt x="2" y="8"/>
                  </a:lnTo>
                  <a:lnTo>
                    <a:pt x="8" y="4"/>
                  </a:lnTo>
                  <a:lnTo>
                    <a:pt x="8" y="4"/>
                  </a:lnTo>
                  <a:lnTo>
                    <a:pt x="16" y="0"/>
                  </a:lnTo>
                  <a:lnTo>
                    <a:pt x="24" y="0"/>
                  </a:lnTo>
                  <a:lnTo>
                    <a:pt x="30" y="4"/>
                  </a:lnTo>
                  <a:lnTo>
                    <a:pt x="36" y="10"/>
                  </a:lnTo>
                  <a:lnTo>
                    <a:pt x="69" y="63"/>
                  </a:lnTo>
                  <a:lnTo>
                    <a:pt x="123" y="86"/>
                  </a:lnTo>
                  <a:lnTo>
                    <a:pt x="123" y="86"/>
                  </a:lnTo>
                  <a:lnTo>
                    <a:pt x="129" y="90"/>
                  </a:lnTo>
                  <a:lnTo>
                    <a:pt x="133" y="96"/>
                  </a:lnTo>
                  <a:lnTo>
                    <a:pt x="135" y="104"/>
                  </a:lnTo>
                  <a:lnTo>
                    <a:pt x="133" y="111"/>
                  </a:lnTo>
                  <a:lnTo>
                    <a:pt x="133" y="111"/>
                  </a:lnTo>
                  <a:lnTo>
                    <a:pt x="129" y="117"/>
                  </a:lnTo>
                  <a:lnTo>
                    <a:pt x="121" y="121"/>
                  </a:lnTo>
                  <a:lnTo>
                    <a:pt x="116" y="123"/>
                  </a:lnTo>
                  <a:lnTo>
                    <a:pt x="108" y="121"/>
                  </a:lnTo>
                  <a:lnTo>
                    <a:pt x="49" y="96"/>
                  </a:lnTo>
                  <a:lnTo>
                    <a:pt x="49" y="96"/>
                  </a:lnTo>
                  <a:lnTo>
                    <a:pt x="43" y="94"/>
                  </a:lnTo>
                  <a:lnTo>
                    <a:pt x="39" y="88"/>
                  </a:lnTo>
                  <a:lnTo>
                    <a:pt x="2" y="29"/>
                  </a:lnTo>
                  <a:close/>
                </a:path>
              </a:pathLst>
            </a:custGeom>
            <a:no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8"/>
            <p:cNvSpPr>
              <a:spLocks noEditPoints="1"/>
            </p:cNvSpPr>
            <p:nvPr/>
          </p:nvSpPr>
          <p:spPr bwMode="auto">
            <a:xfrm>
              <a:off x="216" y="3701"/>
              <a:ext cx="126" cy="139"/>
            </a:xfrm>
            <a:custGeom>
              <a:avLst/>
              <a:gdLst/>
              <a:ahLst/>
              <a:cxnLst>
                <a:cxn ang="0">
                  <a:pos x="238" y="278"/>
                </a:cxn>
                <a:cxn ang="0">
                  <a:pos x="211" y="280"/>
                </a:cxn>
                <a:cxn ang="0">
                  <a:pos x="193" y="270"/>
                </a:cxn>
                <a:cxn ang="0">
                  <a:pos x="183" y="248"/>
                </a:cxn>
                <a:cxn ang="0">
                  <a:pos x="174" y="248"/>
                </a:cxn>
                <a:cxn ang="0">
                  <a:pos x="141" y="270"/>
                </a:cxn>
                <a:cxn ang="0">
                  <a:pos x="102" y="280"/>
                </a:cxn>
                <a:cxn ang="0">
                  <a:pos x="70" y="280"/>
                </a:cxn>
                <a:cxn ang="0">
                  <a:pos x="25" y="262"/>
                </a:cxn>
                <a:cxn ang="0">
                  <a:pos x="2" y="223"/>
                </a:cxn>
                <a:cxn ang="0">
                  <a:pos x="2" y="184"/>
                </a:cxn>
                <a:cxn ang="0">
                  <a:pos x="27" y="145"/>
                </a:cxn>
                <a:cxn ang="0">
                  <a:pos x="74" y="127"/>
                </a:cxn>
                <a:cxn ang="0">
                  <a:pos x="125" y="118"/>
                </a:cxn>
                <a:cxn ang="0">
                  <a:pos x="174" y="102"/>
                </a:cxn>
                <a:cxn ang="0">
                  <a:pos x="180" y="84"/>
                </a:cxn>
                <a:cxn ang="0">
                  <a:pos x="170" y="53"/>
                </a:cxn>
                <a:cxn ang="0">
                  <a:pos x="142" y="41"/>
                </a:cxn>
                <a:cxn ang="0">
                  <a:pos x="107" y="39"/>
                </a:cxn>
                <a:cxn ang="0">
                  <a:pos x="74" y="49"/>
                </a:cxn>
                <a:cxn ang="0">
                  <a:pos x="57" y="77"/>
                </a:cxn>
                <a:cxn ang="0">
                  <a:pos x="10" y="90"/>
                </a:cxn>
                <a:cxn ang="0">
                  <a:pos x="16" y="57"/>
                </a:cxn>
                <a:cxn ang="0">
                  <a:pos x="31" y="32"/>
                </a:cxn>
                <a:cxn ang="0">
                  <a:pos x="82" y="4"/>
                </a:cxn>
                <a:cxn ang="0">
                  <a:pos x="123" y="0"/>
                </a:cxn>
                <a:cxn ang="0">
                  <a:pos x="176" y="6"/>
                </a:cxn>
                <a:cxn ang="0">
                  <a:pos x="211" y="30"/>
                </a:cxn>
                <a:cxn ang="0">
                  <a:pos x="223" y="53"/>
                </a:cxn>
                <a:cxn ang="0">
                  <a:pos x="224" y="211"/>
                </a:cxn>
                <a:cxn ang="0">
                  <a:pos x="226" y="235"/>
                </a:cxn>
                <a:cxn ang="0">
                  <a:pos x="238" y="241"/>
                </a:cxn>
                <a:cxn ang="0">
                  <a:pos x="252" y="239"/>
                </a:cxn>
                <a:cxn ang="0">
                  <a:pos x="180" y="135"/>
                </a:cxn>
                <a:cxn ang="0">
                  <a:pos x="144" y="147"/>
                </a:cxn>
                <a:cxn ang="0">
                  <a:pos x="80" y="159"/>
                </a:cxn>
                <a:cxn ang="0">
                  <a:pos x="57" y="174"/>
                </a:cxn>
                <a:cxn ang="0">
                  <a:pos x="47" y="202"/>
                </a:cxn>
                <a:cxn ang="0">
                  <a:pos x="51" y="221"/>
                </a:cxn>
                <a:cxn ang="0">
                  <a:pos x="70" y="237"/>
                </a:cxn>
                <a:cxn ang="0">
                  <a:pos x="98" y="241"/>
                </a:cxn>
                <a:cxn ang="0">
                  <a:pos x="150" y="229"/>
                </a:cxn>
                <a:cxn ang="0">
                  <a:pos x="176" y="202"/>
                </a:cxn>
                <a:cxn ang="0">
                  <a:pos x="180" y="135"/>
                </a:cxn>
              </a:cxnLst>
              <a:rect l="0" t="0" r="r" b="b"/>
              <a:pathLst>
                <a:path w="252" h="280">
                  <a:moveTo>
                    <a:pt x="252" y="274"/>
                  </a:moveTo>
                  <a:lnTo>
                    <a:pt x="252" y="274"/>
                  </a:lnTo>
                  <a:lnTo>
                    <a:pt x="238" y="278"/>
                  </a:lnTo>
                  <a:lnTo>
                    <a:pt x="221" y="280"/>
                  </a:lnTo>
                  <a:lnTo>
                    <a:pt x="221" y="280"/>
                  </a:lnTo>
                  <a:lnTo>
                    <a:pt x="211" y="280"/>
                  </a:lnTo>
                  <a:lnTo>
                    <a:pt x="205" y="278"/>
                  </a:lnTo>
                  <a:lnTo>
                    <a:pt x="197" y="276"/>
                  </a:lnTo>
                  <a:lnTo>
                    <a:pt x="193" y="270"/>
                  </a:lnTo>
                  <a:lnTo>
                    <a:pt x="189" y="264"/>
                  </a:lnTo>
                  <a:lnTo>
                    <a:pt x="185" y="258"/>
                  </a:lnTo>
                  <a:lnTo>
                    <a:pt x="183" y="248"/>
                  </a:lnTo>
                  <a:lnTo>
                    <a:pt x="183" y="239"/>
                  </a:lnTo>
                  <a:lnTo>
                    <a:pt x="183" y="239"/>
                  </a:lnTo>
                  <a:lnTo>
                    <a:pt x="174" y="248"/>
                  </a:lnTo>
                  <a:lnTo>
                    <a:pt x="162" y="258"/>
                  </a:lnTo>
                  <a:lnTo>
                    <a:pt x="152" y="264"/>
                  </a:lnTo>
                  <a:lnTo>
                    <a:pt x="141" y="270"/>
                  </a:lnTo>
                  <a:lnTo>
                    <a:pt x="129" y="274"/>
                  </a:lnTo>
                  <a:lnTo>
                    <a:pt x="115" y="278"/>
                  </a:lnTo>
                  <a:lnTo>
                    <a:pt x="102" y="280"/>
                  </a:lnTo>
                  <a:lnTo>
                    <a:pt x="88" y="280"/>
                  </a:lnTo>
                  <a:lnTo>
                    <a:pt x="88" y="280"/>
                  </a:lnTo>
                  <a:lnTo>
                    <a:pt x="70" y="280"/>
                  </a:lnTo>
                  <a:lnTo>
                    <a:pt x="55" y="276"/>
                  </a:lnTo>
                  <a:lnTo>
                    <a:pt x="39" y="270"/>
                  </a:lnTo>
                  <a:lnTo>
                    <a:pt x="25" y="262"/>
                  </a:lnTo>
                  <a:lnTo>
                    <a:pt x="16" y="252"/>
                  </a:lnTo>
                  <a:lnTo>
                    <a:pt x="6" y="239"/>
                  </a:lnTo>
                  <a:lnTo>
                    <a:pt x="2" y="223"/>
                  </a:lnTo>
                  <a:lnTo>
                    <a:pt x="0" y="206"/>
                  </a:lnTo>
                  <a:lnTo>
                    <a:pt x="0" y="206"/>
                  </a:lnTo>
                  <a:lnTo>
                    <a:pt x="2" y="184"/>
                  </a:lnTo>
                  <a:lnTo>
                    <a:pt x="8" y="168"/>
                  </a:lnTo>
                  <a:lnTo>
                    <a:pt x="16" y="155"/>
                  </a:lnTo>
                  <a:lnTo>
                    <a:pt x="27" y="145"/>
                  </a:lnTo>
                  <a:lnTo>
                    <a:pt x="41" y="137"/>
                  </a:lnTo>
                  <a:lnTo>
                    <a:pt x="57" y="131"/>
                  </a:lnTo>
                  <a:lnTo>
                    <a:pt x="74" y="127"/>
                  </a:lnTo>
                  <a:lnTo>
                    <a:pt x="90" y="123"/>
                  </a:lnTo>
                  <a:lnTo>
                    <a:pt x="90" y="123"/>
                  </a:lnTo>
                  <a:lnTo>
                    <a:pt x="125" y="118"/>
                  </a:lnTo>
                  <a:lnTo>
                    <a:pt x="154" y="112"/>
                  </a:lnTo>
                  <a:lnTo>
                    <a:pt x="164" y="108"/>
                  </a:lnTo>
                  <a:lnTo>
                    <a:pt x="174" y="102"/>
                  </a:lnTo>
                  <a:lnTo>
                    <a:pt x="180" y="94"/>
                  </a:lnTo>
                  <a:lnTo>
                    <a:pt x="180" y="84"/>
                  </a:lnTo>
                  <a:lnTo>
                    <a:pt x="180" y="84"/>
                  </a:lnTo>
                  <a:lnTo>
                    <a:pt x="180" y="71"/>
                  </a:lnTo>
                  <a:lnTo>
                    <a:pt x="176" y="61"/>
                  </a:lnTo>
                  <a:lnTo>
                    <a:pt x="170" y="53"/>
                  </a:lnTo>
                  <a:lnTo>
                    <a:pt x="162" y="47"/>
                  </a:lnTo>
                  <a:lnTo>
                    <a:pt x="152" y="43"/>
                  </a:lnTo>
                  <a:lnTo>
                    <a:pt x="142" y="41"/>
                  </a:lnTo>
                  <a:lnTo>
                    <a:pt x="121" y="39"/>
                  </a:lnTo>
                  <a:lnTo>
                    <a:pt x="121" y="39"/>
                  </a:lnTo>
                  <a:lnTo>
                    <a:pt x="107" y="39"/>
                  </a:lnTo>
                  <a:lnTo>
                    <a:pt x="96" y="41"/>
                  </a:lnTo>
                  <a:lnTo>
                    <a:pt x="84" y="45"/>
                  </a:lnTo>
                  <a:lnTo>
                    <a:pt x="74" y="49"/>
                  </a:lnTo>
                  <a:lnTo>
                    <a:pt x="66" y="57"/>
                  </a:lnTo>
                  <a:lnTo>
                    <a:pt x="61" y="65"/>
                  </a:lnTo>
                  <a:lnTo>
                    <a:pt x="57" y="77"/>
                  </a:lnTo>
                  <a:lnTo>
                    <a:pt x="55" y="90"/>
                  </a:lnTo>
                  <a:lnTo>
                    <a:pt x="10" y="90"/>
                  </a:lnTo>
                  <a:lnTo>
                    <a:pt x="10" y="90"/>
                  </a:lnTo>
                  <a:lnTo>
                    <a:pt x="12" y="79"/>
                  </a:lnTo>
                  <a:lnTo>
                    <a:pt x="14" y="67"/>
                  </a:lnTo>
                  <a:lnTo>
                    <a:pt x="16" y="57"/>
                  </a:lnTo>
                  <a:lnTo>
                    <a:pt x="21" y="47"/>
                  </a:lnTo>
                  <a:lnTo>
                    <a:pt x="25" y="39"/>
                  </a:lnTo>
                  <a:lnTo>
                    <a:pt x="31" y="32"/>
                  </a:lnTo>
                  <a:lnTo>
                    <a:pt x="45" y="20"/>
                  </a:lnTo>
                  <a:lnTo>
                    <a:pt x="62" y="10"/>
                  </a:lnTo>
                  <a:lnTo>
                    <a:pt x="82" y="4"/>
                  </a:lnTo>
                  <a:lnTo>
                    <a:pt x="102" y="0"/>
                  </a:lnTo>
                  <a:lnTo>
                    <a:pt x="123" y="0"/>
                  </a:lnTo>
                  <a:lnTo>
                    <a:pt x="123" y="0"/>
                  </a:lnTo>
                  <a:lnTo>
                    <a:pt x="142" y="0"/>
                  </a:lnTo>
                  <a:lnTo>
                    <a:pt x="160" y="2"/>
                  </a:lnTo>
                  <a:lnTo>
                    <a:pt x="176" y="6"/>
                  </a:lnTo>
                  <a:lnTo>
                    <a:pt x="191" y="14"/>
                  </a:lnTo>
                  <a:lnTo>
                    <a:pt x="205" y="22"/>
                  </a:lnTo>
                  <a:lnTo>
                    <a:pt x="211" y="30"/>
                  </a:lnTo>
                  <a:lnTo>
                    <a:pt x="215" y="36"/>
                  </a:lnTo>
                  <a:lnTo>
                    <a:pt x="219" y="43"/>
                  </a:lnTo>
                  <a:lnTo>
                    <a:pt x="223" y="53"/>
                  </a:lnTo>
                  <a:lnTo>
                    <a:pt x="223" y="63"/>
                  </a:lnTo>
                  <a:lnTo>
                    <a:pt x="224" y="73"/>
                  </a:lnTo>
                  <a:lnTo>
                    <a:pt x="224" y="211"/>
                  </a:lnTo>
                  <a:lnTo>
                    <a:pt x="224" y="211"/>
                  </a:lnTo>
                  <a:lnTo>
                    <a:pt x="224" y="225"/>
                  </a:lnTo>
                  <a:lnTo>
                    <a:pt x="226" y="235"/>
                  </a:lnTo>
                  <a:lnTo>
                    <a:pt x="228" y="237"/>
                  </a:lnTo>
                  <a:lnTo>
                    <a:pt x="230" y="241"/>
                  </a:lnTo>
                  <a:lnTo>
                    <a:pt x="238" y="241"/>
                  </a:lnTo>
                  <a:lnTo>
                    <a:pt x="238" y="241"/>
                  </a:lnTo>
                  <a:lnTo>
                    <a:pt x="244" y="241"/>
                  </a:lnTo>
                  <a:lnTo>
                    <a:pt x="252" y="239"/>
                  </a:lnTo>
                  <a:lnTo>
                    <a:pt x="252" y="274"/>
                  </a:lnTo>
                  <a:close/>
                  <a:moveTo>
                    <a:pt x="180" y="135"/>
                  </a:moveTo>
                  <a:lnTo>
                    <a:pt x="180" y="135"/>
                  </a:lnTo>
                  <a:lnTo>
                    <a:pt x="174" y="139"/>
                  </a:lnTo>
                  <a:lnTo>
                    <a:pt x="164" y="143"/>
                  </a:lnTo>
                  <a:lnTo>
                    <a:pt x="144" y="147"/>
                  </a:lnTo>
                  <a:lnTo>
                    <a:pt x="100" y="155"/>
                  </a:lnTo>
                  <a:lnTo>
                    <a:pt x="100" y="155"/>
                  </a:lnTo>
                  <a:lnTo>
                    <a:pt x="80" y="159"/>
                  </a:lnTo>
                  <a:lnTo>
                    <a:pt x="70" y="163"/>
                  </a:lnTo>
                  <a:lnTo>
                    <a:pt x="62" y="168"/>
                  </a:lnTo>
                  <a:lnTo>
                    <a:pt x="57" y="174"/>
                  </a:lnTo>
                  <a:lnTo>
                    <a:pt x="51" y="182"/>
                  </a:lnTo>
                  <a:lnTo>
                    <a:pt x="47" y="192"/>
                  </a:lnTo>
                  <a:lnTo>
                    <a:pt x="47" y="202"/>
                  </a:lnTo>
                  <a:lnTo>
                    <a:pt x="47" y="202"/>
                  </a:lnTo>
                  <a:lnTo>
                    <a:pt x="47" y="211"/>
                  </a:lnTo>
                  <a:lnTo>
                    <a:pt x="51" y="221"/>
                  </a:lnTo>
                  <a:lnTo>
                    <a:pt x="57" y="227"/>
                  </a:lnTo>
                  <a:lnTo>
                    <a:pt x="62" y="233"/>
                  </a:lnTo>
                  <a:lnTo>
                    <a:pt x="70" y="237"/>
                  </a:lnTo>
                  <a:lnTo>
                    <a:pt x="78" y="239"/>
                  </a:lnTo>
                  <a:lnTo>
                    <a:pt x="98" y="241"/>
                  </a:lnTo>
                  <a:lnTo>
                    <a:pt x="98" y="241"/>
                  </a:lnTo>
                  <a:lnTo>
                    <a:pt x="119" y="241"/>
                  </a:lnTo>
                  <a:lnTo>
                    <a:pt x="135" y="235"/>
                  </a:lnTo>
                  <a:lnTo>
                    <a:pt x="150" y="229"/>
                  </a:lnTo>
                  <a:lnTo>
                    <a:pt x="160" y="221"/>
                  </a:lnTo>
                  <a:lnTo>
                    <a:pt x="170" y="211"/>
                  </a:lnTo>
                  <a:lnTo>
                    <a:pt x="176" y="202"/>
                  </a:lnTo>
                  <a:lnTo>
                    <a:pt x="180" y="190"/>
                  </a:lnTo>
                  <a:lnTo>
                    <a:pt x="180" y="180"/>
                  </a:lnTo>
                  <a:lnTo>
                    <a:pt x="180" y="135"/>
                  </a:lnTo>
                  <a:close/>
                </a:path>
              </a:pathLst>
            </a:custGeom>
            <a:solidFill>
              <a:srgbClr val="C3D01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9"/>
            <p:cNvSpPr>
              <a:spLocks noEditPoints="1"/>
            </p:cNvSpPr>
            <p:nvPr/>
          </p:nvSpPr>
          <p:spPr bwMode="auto">
            <a:xfrm>
              <a:off x="335" y="3653"/>
              <a:ext cx="127" cy="187"/>
            </a:xfrm>
            <a:custGeom>
              <a:avLst/>
              <a:gdLst/>
              <a:ahLst/>
              <a:cxnLst>
                <a:cxn ang="0">
                  <a:pos x="211" y="369"/>
                </a:cxn>
                <a:cxn ang="0">
                  <a:pos x="209" y="334"/>
                </a:cxn>
                <a:cxn ang="0">
                  <a:pos x="203" y="343"/>
                </a:cxn>
                <a:cxn ang="0">
                  <a:pos x="186" y="359"/>
                </a:cxn>
                <a:cxn ang="0">
                  <a:pos x="164" y="369"/>
                </a:cxn>
                <a:cxn ang="0">
                  <a:pos x="139" y="375"/>
                </a:cxn>
                <a:cxn ang="0">
                  <a:pos x="125" y="375"/>
                </a:cxn>
                <a:cxn ang="0">
                  <a:pos x="96" y="373"/>
                </a:cxn>
                <a:cxn ang="0">
                  <a:pos x="70" y="365"/>
                </a:cxn>
                <a:cxn ang="0">
                  <a:pos x="49" y="351"/>
                </a:cxn>
                <a:cxn ang="0">
                  <a:pos x="31" y="334"/>
                </a:cxn>
                <a:cxn ang="0">
                  <a:pos x="18" y="312"/>
                </a:cxn>
                <a:cxn ang="0">
                  <a:pos x="2" y="261"/>
                </a:cxn>
                <a:cxn ang="0">
                  <a:pos x="0" y="234"/>
                </a:cxn>
                <a:cxn ang="0">
                  <a:pos x="8" y="181"/>
                </a:cxn>
                <a:cxn ang="0">
                  <a:pos x="24" y="146"/>
                </a:cxn>
                <a:cxn ang="0">
                  <a:pos x="39" y="127"/>
                </a:cxn>
                <a:cxn ang="0">
                  <a:pos x="59" y="113"/>
                </a:cxn>
                <a:cxn ang="0">
                  <a:pos x="82" y="101"/>
                </a:cxn>
                <a:cxn ang="0">
                  <a:pos x="107" y="95"/>
                </a:cxn>
                <a:cxn ang="0">
                  <a:pos x="123" y="95"/>
                </a:cxn>
                <a:cxn ang="0">
                  <a:pos x="158" y="99"/>
                </a:cxn>
                <a:cxn ang="0">
                  <a:pos x="182" y="109"/>
                </a:cxn>
                <a:cxn ang="0">
                  <a:pos x="201" y="127"/>
                </a:cxn>
                <a:cxn ang="0">
                  <a:pos x="211" y="136"/>
                </a:cxn>
                <a:cxn ang="0">
                  <a:pos x="254" y="0"/>
                </a:cxn>
                <a:cxn ang="0">
                  <a:pos x="131" y="336"/>
                </a:cxn>
                <a:cxn ang="0">
                  <a:pos x="141" y="336"/>
                </a:cxn>
                <a:cxn ang="0">
                  <a:pos x="160" y="332"/>
                </a:cxn>
                <a:cxn ang="0">
                  <a:pos x="182" y="318"/>
                </a:cxn>
                <a:cxn ang="0">
                  <a:pos x="201" y="289"/>
                </a:cxn>
                <a:cxn ang="0">
                  <a:pos x="211" y="254"/>
                </a:cxn>
                <a:cxn ang="0">
                  <a:pos x="213" y="236"/>
                </a:cxn>
                <a:cxn ang="0">
                  <a:pos x="207" y="197"/>
                </a:cxn>
                <a:cxn ang="0">
                  <a:pos x="193" y="166"/>
                </a:cxn>
                <a:cxn ang="0">
                  <a:pos x="166" y="142"/>
                </a:cxn>
                <a:cxn ang="0">
                  <a:pos x="148" y="136"/>
                </a:cxn>
                <a:cxn ang="0">
                  <a:pos x="127" y="134"/>
                </a:cxn>
                <a:cxn ang="0">
                  <a:pos x="117" y="134"/>
                </a:cxn>
                <a:cxn ang="0">
                  <a:pos x="98" y="138"/>
                </a:cxn>
                <a:cxn ang="0">
                  <a:pos x="76" y="152"/>
                </a:cxn>
                <a:cxn ang="0">
                  <a:pos x="57" y="181"/>
                </a:cxn>
                <a:cxn ang="0">
                  <a:pos x="49" y="218"/>
                </a:cxn>
                <a:cxn ang="0">
                  <a:pos x="47" y="238"/>
                </a:cxn>
                <a:cxn ang="0">
                  <a:pos x="53" y="275"/>
                </a:cxn>
                <a:cxn ang="0">
                  <a:pos x="68" y="306"/>
                </a:cxn>
                <a:cxn ang="0">
                  <a:pos x="94" y="328"/>
                </a:cxn>
                <a:cxn ang="0">
                  <a:pos x="131" y="336"/>
                </a:cxn>
              </a:cxnLst>
              <a:rect l="0" t="0" r="r" b="b"/>
              <a:pathLst>
                <a:path w="254" h="375">
                  <a:moveTo>
                    <a:pt x="254" y="369"/>
                  </a:moveTo>
                  <a:lnTo>
                    <a:pt x="211" y="369"/>
                  </a:lnTo>
                  <a:lnTo>
                    <a:pt x="211" y="334"/>
                  </a:lnTo>
                  <a:lnTo>
                    <a:pt x="209" y="334"/>
                  </a:lnTo>
                  <a:lnTo>
                    <a:pt x="209" y="334"/>
                  </a:lnTo>
                  <a:lnTo>
                    <a:pt x="203" y="343"/>
                  </a:lnTo>
                  <a:lnTo>
                    <a:pt x="195" y="351"/>
                  </a:lnTo>
                  <a:lnTo>
                    <a:pt x="186" y="359"/>
                  </a:lnTo>
                  <a:lnTo>
                    <a:pt x="176" y="365"/>
                  </a:lnTo>
                  <a:lnTo>
                    <a:pt x="164" y="369"/>
                  </a:lnTo>
                  <a:lnTo>
                    <a:pt x="150" y="373"/>
                  </a:lnTo>
                  <a:lnTo>
                    <a:pt x="139" y="375"/>
                  </a:lnTo>
                  <a:lnTo>
                    <a:pt x="125" y="375"/>
                  </a:lnTo>
                  <a:lnTo>
                    <a:pt x="125" y="375"/>
                  </a:lnTo>
                  <a:lnTo>
                    <a:pt x="109" y="375"/>
                  </a:lnTo>
                  <a:lnTo>
                    <a:pt x="96" y="373"/>
                  </a:lnTo>
                  <a:lnTo>
                    <a:pt x="82" y="369"/>
                  </a:lnTo>
                  <a:lnTo>
                    <a:pt x="70" y="365"/>
                  </a:lnTo>
                  <a:lnTo>
                    <a:pt x="59" y="357"/>
                  </a:lnTo>
                  <a:lnTo>
                    <a:pt x="49" y="351"/>
                  </a:lnTo>
                  <a:lnTo>
                    <a:pt x="39" y="343"/>
                  </a:lnTo>
                  <a:lnTo>
                    <a:pt x="31" y="334"/>
                  </a:lnTo>
                  <a:lnTo>
                    <a:pt x="26" y="324"/>
                  </a:lnTo>
                  <a:lnTo>
                    <a:pt x="18" y="312"/>
                  </a:lnTo>
                  <a:lnTo>
                    <a:pt x="8" y="289"/>
                  </a:lnTo>
                  <a:lnTo>
                    <a:pt x="2" y="261"/>
                  </a:lnTo>
                  <a:lnTo>
                    <a:pt x="0" y="234"/>
                  </a:lnTo>
                  <a:lnTo>
                    <a:pt x="0" y="234"/>
                  </a:lnTo>
                  <a:lnTo>
                    <a:pt x="2" y="207"/>
                  </a:lnTo>
                  <a:lnTo>
                    <a:pt x="8" y="181"/>
                  </a:lnTo>
                  <a:lnTo>
                    <a:pt x="18" y="158"/>
                  </a:lnTo>
                  <a:lnTo>
                    <a:pt x="24" y="146"/>
                  </a:lnTo>
                  <a:lnTo>
                    <a:pt x="31" y="136"/>
                  </a:lnTo>
                  <a:lnTo>
                    <a:pt x="39" y="127"/>
                  </a:lnTo>
                  <a:lnTo>
                    <a:pt x="49" y="119"/>
                  </a:lnTo>
                  <a:lnTo>
                    <a:pt x="59" y="113"/>
                  </a:lnTo>
                  <a:lnTo>
                    <a:pt x="70" y="107"/>
                  </a:lnTo>
                  <a:lnTo>
                    <a:pt x="82" y="101"/>
                  </a:lnTo>
                  <a:lnTo>
                    <a:pt x="94" y="97"/>
                  </a:lnTo>
                  <a:lnTo>
                    <a:pt x="107" y="95"/>
                  </a:lnTo>
                  <a:lnTo>
                    <a:pt x="123" y="95"/>
                  </a:lnTo>
                  <a:lnTo>
                    <a:pt x="123" y="95"/>
                  </a:lnTo>
                  <a:lnTo>
                    <a:pt x="147" y="97"/>
                  </a:lnTo>
                  <a:lnTo>
                    <a:pt x="158" y="99"/>
                  </a:lnTo>
                  <a:lnTo>
                    <a:pt x="170" y="105"/>
                  </a:lnTo>
                  <a:lnTo>
                    <a:pt x="182" y="109"/>
                  </a:lnTo>
                  <a:lnTo>
                    <a:pt x="191" y="117"/>
                  </a:lnTo>
                  <a:lnTo>
                    <a:pt x="201" y="127"/>
                  </a:lnTo>
                  <a:lnTo>
                    <a:pt x="209" y="136"/>
                  </a:lnTo>
                  <a:lnTo>
                    <a:pt x="211" y="136"/>
                  </a:lnTo>
                  <a:lnTo>
                    <a:pt x="211" y="0"/>
                  </a:lnTo>
                  <a:lnTo>
                    <a:pt x="254" y="0"/>
                  </a:lnTo>
                  <a:lnTo>
                    <a:pt x="254" y="369"/>
                  </a:lnTo>
                  <a:close/>
                  <a:moveTo>
                    <a:pt x="131" y="336"/>
                  </a:moveTo>
                  <a:lnTo>
                    <a:pt x="131" y="336"/>
                  </a:lnTo>
                  <a:lnTo>
                    <a:pt x="141" y="336"/>
                  </a:lnTo>
                  <a:lnTo>
                    <a:pt x="150" y="334"/>
                  </a:lnTo>
                  <a:lnTo>
                    <a:pt x="160" y="332"/>
                  </a:lnTo>
                  <a:lnTo>
                    <a:pt x="168" y="328"/>
                  </a:lnTo>
                  <a:lnTo>
                    <a:pt x="182" y="318"/>
                  </a:lnTo>
                  <a:lnTo>
                    <a:pt x="193" y="304"/>
                  </a:lnTo>
                  <a:lnTo>
                    <a:pt x="201" y="289"/>
                  </a:lnTo>
                  <a:lnTo>
                    <a:pt x="207" y="273"/>
                  </a:lnTo>
                  <a:lnTo>
                    <a:pt x="211" y="254"/>
                  </a:lnTo>
                  <a:lnTo>
                    <a:pt x="213" y="236"/>
                  </a:lnTo>
                  <a:lnTo>
                    <a:pt x="213" y="236"/>
                  </a:lnTo>
                  <a:lnTo>
                    <a:pt x="211" y="217"/>
                  </a:lnTo>
                  <a:lnTo>
                    <a:pt x="207" y="197"/>
                  </a:lnTo>
                  <a:lnTo>
                    <a:pt x="201" y="179"/>
                  </a:lnTo>
                  <a:lnTo>
                    <a:pt x="193" y="166"/>
                  </a:lnTo>
                  <a:lnTo>
                    <a:pt x="182" y="152"/>
                  </a:lnTo>
                  <a:lnTo>
                    <a:pt x="166" y="142"/>
                  </a:lnTo>
                  <a:lnTo>
                    <a:pt x="158" y="138"/>
                  </a:lnTo>
                  <a:lnTo>
                    <a:pt x="148" y="136"/>
                  </a:lnTo>
                  <a:lnTo>
                    <a:pt x="139" y="134"/>
                  </a:lnTo>
                  <a:lnTo>
                    <a:pt x="127" y="134"/>
                  </a:lnTo>
                  <a:lnTo>
                    <a:pt x="127" y="134"/>
                  </a:lnTo>
                  <a:lnTo>
                    <a:pt x="117" y="134"/>
                  </a:lnTo>
                  <a:lnTo>
                    <a:pt x="107" y="136"/>
                  </a:lnTo>
                  <a:lnTo>
                    <a:pt x="98" y="138"/>
                  </a:lnTo>
                  <a:lnTo>
                    <a:pt x="90" y="142"/>
                  </a:lnTo>
                  <a:lnTo>
                    <a:pt x="76" y="152"/>
                  </a:lnTo>
                  <a:lnTo>
                    <a:pt x="65" y="166"/>
                  </a:lnTo>
                  <a:lnTo>
                    <a:pt x="57" y="181"/>
                  </a:lnTo>
                  <a:lnTo>
                    <a:pt x="51" y="199"/>
                  </a:lnTo>
                  <a:lnTo>
                    <a:pt x="49" y="218"/>
                  </a:lnTo>
                  <a:lnTo>
                    <a:pt x="47" y="238"/>
                  </a:lnTo>
                  <a:lnTo>
                    <a:pt x="47" y="238"/>
                  </a:lnTo>
                  <a:lnTo>
                    <a:pt x="49" y="256"/>
                  </a:lnTo>
                  <a:lnTo>
                    <a:pt x="53" y="275"/>
                  </a:lnTo>
                  <a:lnTo>
                    <a:pt x="59" y="291"/>
                  </a:lnTo>
                  <a:lnTo>
                    <a:pt x="68" y="306"/>
                  </a:lnTo>
                  <a:lnTo>
                    <a:pt x="80" y="318"/>
                  </a:lnTo>
                  <a:lnTo>
                    <a:pt x="94" y="328"/>
                  </a:lnTo>
                  <a:lnTo>
                    <a:pt x="111" y="334"/>
                  </a:lnTo>
                  <a:lnTo>
                    <a:pt x="131" y="336"/>
                  </a:lnTo>
                  <a:lnTo>
                    <a:pt x="131" y="336"/>
                  </a:lnTo>
                  <a:close/>
                </a:path>
              </a:pathLst>
            </a:custGeom>
            <a:solidFill>
              <a:srgbClr val="C6C6C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50"/>
            <p:cNvSpPr>
              <a:spLocks/>
            </p:cNvSpPr>
            <p:nvPr/>
          </p:nvSpPr>
          <p:spPr bwMode="auto">
            <a:xfrm>
              <a:off x="477" y="3701"/>
              <a:ext cx="188" cy="136"/>
            </a:xfrm>
            <a:custGeom>
              <a:avLst/>
              <a:gdLst/>
              <a:ahLst/>
              <a:cxnLst>
                <a:cxn ang="0">
                  <a:pos x="43" y="6"/>
                </a:cxn>
                <a:cxn ang="0">
                  <a:pos x="43" y="45"/>
                </a:cxn>
                <a:cxn ang="0">
                  <a:pos x="51" y="36"/>
                </a:cxn>
                <a:cxn ang="0">
                  <a:pos x="70" y="18"/>
                </a:cxn>
                <a:cxn ang="0">
                  <a:pos x="92" y="6"/>
                </a:cxn>
                <a:cxn ang="0">
                  <a:pos x="115" y="0"/>
                </a:cxn>
                <a:cxn ang="0">
                  <a:pos x="129" y="0"/>
                </a:cxn>
                <a:cxn ang="0">
                  <a:pos x="154" y="2"/>
                </a:cxn>
                <a:cxn ang="0">
                  <a:pos x="174" y="10"/>
                </a:cxn>
                <a:cxn ang="0">
                  <a:pos x="191" y="24"/>
                </a:cxn>
                <a:cxn ang="0">
                  <a:pos x="203" y="45"/>
                </a:cxn>
                <a:cxn ang="0">
                  <a:pos x="211" y="36"/>
                </a:cxn>
                <a:cxn ang="0">
                  <a:pos x="229" y="18"/>
                </a:cxn>
                <a:cxn ang="0">
                  <a:pos x="250" y="6"/>
                </a:cxn>
                <a:cxn ang="0">
                  <a:pos x="275" y="0"/>
                </a:cxn>
                <a:cxn ang="0">
                  <a:pos x="287" y="0"/>
                </a:cxn>
                <a:cxn ang="0">
                  <a:pos x="324" y="4"/>
                </a:cxn>
                <a:cxn ang="0">
                  <a:pos x="352" y="18"/>
                </a:cxn>
                <a:cxn ang="0">
                  <a:pos x="369" y="41"/>
                </a:cxn>
                <a:cxn ang="0">
                  <a:pos x="377" y="79"/>
                </a:cxn>
                <a:cxn ang="0">
                  <a:pos x="332" y="274"/>
                </a:cxn>
                <a:cxn ang="0">
                  <a:pos x="332" y="98"/>
                </a:cxn>
                <a:cxn ang="0">
                  <a:pos x="330" y="75"/>
                </a:cxn>
                <a:cxn ang="0">
                  <a:pos x="322" y="57"/>
                </a:cxn>
                <a:cxn ang="0">
                  <a:pos x="307" y="43"/>
                </a:cxn>
                <a:cxn ang="0">
                  <a:pos x="281" y="39"/>
                </a:cxn>
                <a:cxn ang="0">
                  <a:pos x="266" y="39"/>
                </a:cxn>
                <a:cxn ang="0">
                  <a:pos x="240" y="49"/>
                </a:cxn>
                <a:cxn ang="0">
                  <a:pos x="221" y="67"/>
                </a:cxn>
                <a:cxn ang="0">
                  <a:pos x="211" y="92"/>
                </a:cxn>
                <a:cxn ang="0">
                  <a:pos x="211" y="274"/>
                </a:cxn>
                <a:cxn ang="0">
                  <a:pos x="166" y="98"/>
                </a:cxn>
                <a:cxn ang="0">
                  <a:pos x="166" y="86"/>
                </a:cxn>
                <a:cxn ang="0">
                  <a:pos x="160" y="65"/>
                </a:cxn>
                <a:cxn ang="0">
                  <a:pos x="149" y="49"/>
                </a:cxn>
                <a:cxn ang="0">
                  <a:pos x="129" y="39"/>
                </a:cxn>
                <a:cxn ang="0">
                  <a:pos x="115" y="39"/>
                </a:cxn>
                <a:cxn ang="0">
                  <a:pos x="82" y="47"/>
                </a:cxn>
                <a:cxn ang="0">
                  <a:pos x="61" y="65"/>
                </a:cxn>
                <a:cxn ang="0">
                  <a:pos x="49" y="88"/>
                </a:cxn>
                <a:cxn ang="0">
                  <a:pos x="45" y="108"/>
                </a:cxn>
                <a:cxn ang="0">
                  <a:pos x="0" y="274"/>
                </a:cxn>
              </a:cxnLst>
              <a:rect l="0" t="0" r="r" b="b"/>
              <a:pathLst>
                <a:path w="377" h="274">
                  <a:moveTo>
                    <a:pt x="0" y="6"/>
                  </a:moveTo>
                  <a:lnTo>
                    <a:pt x="43" y="6"/>
                  </a:lnTo>
                  <a:lnTo>
                    <a:pt x="43" y="45"/>
                  </a:lnTo>
                  <a:lnTo>
                    <a:pt x="43" y="45"/>
                  </a:lnTo>
                  <a:lnTo>
                    <a:pt x="43" y="45"/>
                  </a:lnTo>
                  <a:lnTo>
                    <a:pt x="51" y="36"/>
                  </a:lnTo>
                  <a:lnTo>
                    <a:pt x="61" y="26"/>
                  </a:lnTo>
                  <a:lnTo>
                    <a:pt x="70" y="18"/>
                  </a:lnTo>
                  <a:lnTo>
                    <a:pt x="80" y="12"/>
                  </a:lnTo>
                  <a:lnTo>
                    <a:pt x="92" y="6"/>
                  </a:lnTo>
                  <a:lnTo>
                    <a:pt x="104" y="2"/>
                  </a:lnTo>
                  <a:lnTo>
                    <a:pt x="115" y="0"/>
                  </a:lnTo>
                  <a:lnTo>
                    <a:pt x="129" y="0"/>
                  </a:lnTo>
                  <a:lnTo>
                    <a:pt x="129" y="0"/>
                  </a:lnTo>
                  <a:lnTo>
                    <a:pt x="143" y="0"/>
                  </a:lnTo>
                  <a:lnTo>
                    <a:pt x="154" y="2"/>
                  </a:lnTo>
                  <a:lnTo>
                    <a:pt x="164" y="6"/>
                  </a:lnTo>
                  <a:lnTo>
                    <a:pt x="174" y="10"/>
                  </a:lnTo>
                  <a:lnTo>
                    <a:pt x="184" y="16"/>
                  </a:lnTo>
                  <a:lnTo>
                    <a:pt x="191" y="24"/>
                  </a:lnTo>
                  <a:lnTo>
                    <a:pt x="199" y="34"/>
                  </a:lnTo>
                  <a:lnTo>
                    <a:pt x="203" y="45"/>
                  </a:lnTo>
                  <a:lnTo>
                    <a:pt x="203" y="45"/>
                  </a:lnTo>
                  <a:lnTo>
                    <a:pt x="211" y="36"/>
                  </a:lnTo>
                  <a:lnTo>
                    <a:pt x="219" y="26"/>
                  </a:lnTo>
                  <a:lnTo>
                    <a:pt x="229" y="18"/>
                  </a:lnTo>
                  <a:lnTo>
                    <a:pt x="238" y="12"/>
                  </a:lnTo>
                  <a:lnTo>
                    <a:pt x="250" y="6"/>
                  </a:lnTo>
                  <a:lnTo>
                    <a:pt x="262" y="2"/>
                  </a:lnTo>
                  <a:lnTo>
                    <a:pt x="275" y="0"/>
                  </a:lnTo>
                  <a:lnTo>
                    <a:pt x="287" y="0"/>
                  </a:lnTo>
                  <a:lnTo>
                    <a:pt x="287" y="0"/>
                  </a:lnTo>
                  <a:lnTo>
                    <a:pt x="307" y="0"/>
                  </a:lnTo>
                  <a:lnTo>
                    <a:pt x="324" y="4"/>
                  </a:lnTo>
                  <a:lnTo>
                    <a:pt x="338" y="10"/>
                  </a:lnTo>
                  <a:lnTo>
                    <a:pt x="352" y="18"/>
                  </a:lnTo>
                  <a:lnTo>
                    <a:pt x="361" y="30"/>
                  </a:lnTo>
                  <a:lnTo>
                    <a:pt x="369" y="41"/>
                  </a:lnTo>
                  <a:lnTo>
                    <a:pt x="375" y="59"/>
                  </a:lnTo>
                  <a:lnTo>
                    <a:pt x="377" y="79"/>
                  </a:lnTo>
                  <a:lnTo>
                    <a:pt x="377" y="274"/>
                  </a:lnTo>
                  <a:lnTo>
                    <a:pt x="332" y="274"/>
                  </a:lnTo>
                  <a:lnTo>
                    <a:pt x="332" y="98"/>
                  </a:lnTo>
                  <a:lnTo>
                    <a:pt x="332" y="98"/>
                  </a:lnTo>
                  <a:lnTo>
                    <a:pt x="332" y="86"/>
                  </a:lnTo>
                  <a:lnTo>
                    <a:pt x="330" y="75"/>
                  </a:lnTo>
                  <a:lnTo>
                    <a:pt x="328" y="65"/>
                  </a:lnTo>
                  <a:lnTo>
                    <a:pt x="322" y="57"/>
                  </a:lnTo>
                  <a:lnTo>
                    <a:pt x="316" y="49"/>
                  </a:lnTo>
                  <a:lnTo>
                    <a:pt x="307" y="43"/>
                  </a:lnTo>
                  <a:lnTo>
                    <a:pt x="295" y="39"/>
                  </a:lnTo>
                  <a:lnTo>
                    <a:pt x="281" y="39"/>
                  </a:lnTo>
                  <a:lnTo>
                    <a:pt x="281" y="39"/>
                  </a:lnTo>
                  <a:lnTo>
                    <a:pt x="266" y="39"/>
                  </a:lnTo>
                  <a:lnTo>
                    <a:pt x="252" y="43"/>
                  </a:lnTo>
                  <a:lnTo>
                    <a:pt x="240" y="49"/>
                  </a:lnTo>
                  <a:lnTo>
                    <a:pt x="231" y="57"/>
                  </a:lnTo>
                  <a:lnTo>
                    <a:pt x="221" y="67"/>
                  </a:lnTo>
                  <a:lnTo>
                    <a:pt x="215" y="79"/>
                  </a:lnTo>
                  <a:lnTo>
                    <a:pt x="211" y="92"/>
                  </a:lnTo>
                  <a:lnTo>
                    <a:pt x="211" y="108"/>
                  </a:lnTo>
                  <a:lnTo>
                    <a:pt x="211" y="274"/>
                  </a:lnTo>
                  <a:lnTo>
                    <a:pt x="166" y="274"/>
                  </a:lnTo>
                  <a:lnTo>
                    <a:pt x="166" y="98"/>
                  </a:lnTo>
                  <a:lnTo>
                    <a:pt x="166" y="98"/>
                  </a:lnTo>
                  <a:lnTo>
                    <a:pt x="166" y="86"/>
                  </a:lnTo>
                  <a:lnTo>
                    <a:pt x="164" y="75"/>
                  </a:lnTo>
                  <a:lnTo>
                    <a:pt x="160" y="65"/>
                  </a:lnTo>
                  <a:lnTo>
                    <a:pt x="156" y="55"/>
                  </a:lnTo>
                  <a:lnTo>
                    <a:pt x="149" y="49"/>
                  </a:lnTo>
                  <a:lnTo>
                    <a:pt x="141" y="43"/>
                  </a:lnTo>
                  <a:lnTo>
                    <a:pt x="129" y="39"/>
                  </a:lnTo>
                  <a:lnTo>
                    <a:pt x="115" y="39"/>
                  </a:lnTo>
                  <a:lnTo>
                    <a:pt x="115" y="39"/>
                  </a:lnTo>
                  <a:lnTo>
                    <a:pt x="98" y="41"/>
                  </a:lnTo>
                  <a:lnTo>
                    <a:pt x="82" y="47"/>
                  </a:lnTo>
                  <a:lnTo>
                    <a:pt x="70" y="55"/>
                  </a:lnTo>
                  <a:lnTo>
                    <a:pt x="61" y="65"/>
                  </a:lnTo>
                  <a:lnTo>
                    <a:pt x="53" y="77"/>
                  </a:lnTo>
                  <a:lnTo>
                    <a:pt x="49" y="88"/>
                  </a:lnTo>
                  <a:lnTo>
                    <a:pt x="45" y="98"/>
                  </a:lnTo>
                  <a:lnTo>
                    <a:pt x="45" y="108"/>
                  </a:lnTo>
                  <a:lnTo>
                    <a:pt x="45" y="274"/>
                  </a:lnTo>
                  <a:lnTo>
                    <a:pt x="0" y="274"/>
                  </a:lnTo>
                  <a:lnTo>
                    <a:pt x="0" y="6"/>
                  </a:lnTo>
                  <a:close/>
                </a:path>
              </a:pathLst>
            </a:custGeom>
            <a:solidFill>
              <a:srgbClr val="C6C6C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a:xfrm>
            <a:off x="493713" y="0"/>
            <a:ext cx="8924925" cy="898358"/>
          </a:xfrm>
        </p:spPr>
        <p:txBody>
          <a:bodyPr/>
          <a:lstStyle>
            <a:lvl1pPr>
              <a:lnSpc>
                <a:spcPct val="100000"/>
              </a:lnSpc>
              <a:defRPr sz="2800"/>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493713" y="2024063"/>
            <a:ext cx="8924926" cy="408146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a:xfrm>
            <a:off x="493712" y="1"/>
            <a:ext cx="8924925" cy="896112"/>
          </a:xfrm>
        </p:spPr>
        <p:txBody>
          <a:bodyPr vert="horz" wrap="square" lIns="0" tIns="0" rIns="0" bIns="0" rtlCol="0" anchor="ctr">
            <a:noAutofit/>
          </a:bodyPr>
          <a:lstStyle>
            <a:lvl1pPr algn="l" defTabSz="914315" rtl="0" eaLnBrk="1" latinLnBrk="0" hangingPunct="1">
              <a:lnSpc>
                <a:spcPct val="100000"/>
              </a:lnSpc>
              <a:spcBef>
                <a:spcPct val="0"/>
              </a:spcBef>
              <a:buNone/>
              <a:defRPr lang="en-US" sz="2800" b="0" kern="1200" noProof="0" dirty="0" smtClean="0">
                <a:solidFill>
                  <a:schemeClr val="tx1"/>
                </a:solidFill>
                <a:latin typeface="+mj-lt"/>
                <a:ea typeface="+mj-ea"/>
                <a:cs typeface="+mj-cs"/>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4" imgW="360" imgH="360" progId="">
              <p:embed/>
            </p:oleObj>
          </a:graphicData>
        </a:graphic>
      </p:graphicFrame>
      <p:sp>
        <p:nvSpPr>
          <p:cNvPr id="5" name="Titre 1"/>
          <p:cNvSpPr>
            <a:spLocks noGrp="1"/>
          </p:cNvSpPr>
          <p:nvPr>
            <p:ph type="title" hasCustomPrompt="1"/>
            <p:custDataLst>
              <p:tags r:id="rId2"/>
            </p:custDataLst>
          </p:nvPr>
        </p:nvSpPr>
        <p:spPr>
          <a:xfrm>
            <a:off x="493713" y="2838044"/>
            <a:ext cx="2819400" cy="677108"/>
          </a:xfrm>
          <a:prstGeom prst="rect">
            <a:avLst/>
          </a:prstGeom>
        </p:spPr>
        <p:txBody>
          <a:bodyPr vert="horz" lIns="0" tIns="0" rIns="0" bIns="0" rtlCol="0" anchor="ctr" anchorCtr="0">
            <a:spAutoFit/>
          </a:bodyPr>
          <a:lstStyle>
            <a:lvl1pPr algn="l" defTabSz="914342" rtl="0" eaLnBrk="1" latinLnBrk="0" hangingPunct="1">
              <a:spcBef>
                <a:spcPct val="0"/>
              </a:spcBef>
              <a:buNone/>
              <a:defRPr lang="en-US" sz="2200" b="0" kern="1200" cap="none" baseline="0" dirty="0" smtClean="0">
                <a:solidFill>
                  <a:schemeClr val="tx1"/>
                </a:solidFill>
                <a:latin typeface="Arial Narrow"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58722" name="think-cell Slide" r:id="rId4" imgW="360" imgH="360" progId="">
              <p:embed/>
            </p:oleObj>
          </a:graphicData>
        </a:graphic>
      </p:graphicFrame>
      <p:sp>
        <p:nvSpPr>
          <p:cNvPr id="5" name="Titre 1"/>
          <p:cNvSpPr>
            <a:spLocks noGrp="1"/>
          </p:cNvSpPr>
          <p:nvPr>
            <p:ph type="title" hasCustomPrompt="1"/>
            <p:custDataLst>
              <p:tags r:id="rId2"/>
            </p:custDataLst>
          </p:nvPr>
        </p:nvSpPr>
        <p:spPr>
          <a:xfrm>
            <a:off x="493713" y="2838044"/>
            <a:ext cx="2819400" cy="677108"/>
          </a:xfrm>
          <a:prstGeom prst="rect">
            <a:avLst/>
          </a:prstGeom>
        </p:spPr>
        <p:txBody>
          <a:bodyPr vert="horz" lIns="0" tIns="0" rIns="0" bIns="0" rtlCol="0" anchor="ctr" anchorCtr="0">
            <a:spAutoFit/>
          </a:bodyPr>
          <a:lstStyle>
            <a:lvl1pPr algn="l" defTabSz="914342" rtl="0" eaLnBrk="1" latinLnBrk="0" hangingPunct="1">
              <a:spcBef>
                <a:spcPct val="0"/>
              </a:spcBef>
              <a:buNone/>
              <a:defRPr lang="en-US" sz="2200" b="0" kern="1200" cap="none" baseline="0" dirty="0" smtClean="0">
                <a:solidFill>
                  <a:schemeClr val="tx1"/>
                </a:solidFill>
                <a:latin typeface="Arial Narrow"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12" name="Picture 11" descr="ADM-VI.jpg"/>
          <p:cNvPicPr>
            <a:picLocks noChangeAspect="1"/>
          </p:cNvPicPr>
          <p:nvPr userDrawn="1"/>
        </p:nvPicPr>
        <p:blipFill>
          <a:blip r:embed="rId4" cstate="print"/>
          <a:srcRect l="30649" b="4430"/>
          <a:stretch>
            <a:fillRect/>
          </a:stretch>
        </p:blipFill>
        <p:spPr>
          <a:xfrm>
            <a:off x="0" y="271849"/>
            <a:ext cx="9906000" cy="6306751"/>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5" imgW="360" imgH="360" progId="">
              <p:embed/>
            </p:oleObj>
          </a:graphicData>
        </a:graphic>
      </p:graphicFrame>
      <p:sp>
        <p:nvSpPr>
          <p:cNvPr id="2" name="Titre 1"/>
          <p:cNvSpPr>
            <a:spLocks noGrp="1"/>
          </p:cNvSpPr>
          <p:nvPr>
            <p:ph type="title" hasCustomPrompt="1"/>
            <p:custDataLst>
              <p:tags r:id="rId2"/>
            </p:custDataLst>
          </p:nvPr>
        </p:nvSpPr>
        <p:spPr>
          <a:xfrm>
            <a:off x="493713" y="2495550"/>
            <a:ext cx="8924926" cy="1362097"/>
          </a:xfrm>
          <a:prstGeom prst="rect">
            <a:avLst/>
          </a:prstGeom>
        </p:spPr>
        <p:txBody>
          <a:bodyPr vert="horz" lIns="0" tIns="0" rIns="0" bIns="0"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Narrow" pitchFamily="34" charset="0"/>
                <a:ea typeface="+mj-ea"/>
                <a:cs typeface="Arial" pitchFamily="34" charset="0"/>
              </a:defRPr>
            </a:lvl1pPr>
          </a:lstStyle>
          <a:p>
            <a:pPr lvl="0"/>
            <a:r>
              <a:rPr lang="en-US" noProof="0" dirty="0" smtClean="0"/>
              <a:t>Click to edit Master text style</a:t>
            </a:r>
          </a:p>
        </p:txBody>
      </p:sp>
      <p:sp>
        <p:nvSpPr>
          <p:cNvPr id="9" name="Freeform 19"/>
          <p:cNvSpPr>
            <a:spLocks/>
          </p:cNvSpPr>
          <p:nvPr userDrawn="1"/>
        </p:nvSpPr>
        <p:spPr bwMode="auto">
          <a:xfrm>
            <a:off x="-90" y="5160"/>
            <a:ext cx="9906090" cy="1521387"/>
          </a:xfrm>
          <a:custGeom>
            <a:avLst/>
            <a:gdLst>
              <a:gd name="connsiteX0" fmla="*/ 259 w 10000"/>
              <a:gd name="connsiteY0" fmla="*/ 1230 h 10000"/>
              <a:gd name="connsiteX1" fmla="*/ 0 w 10000"/>
              <a:gd name="connsiteY1" fmla="*/ 6808 h 10000"/>
              <a:gd name="connsiteX2" fmla="*/ 0 w 10000"/>
              <a:gd name="connsiteY2" fmla="*/ 6808 h 10000"/>
              <a:gd name="connsiteX3" fmla="*/ 39 w 10000"/>
              <a:gd name="connsiteY3" fmla="*/ 6834 h 10000"/>
              <a:gd name="connsiteX4" fmla="*/ 80 w 10000"/>
              <a:gd name="connsiteY4" fmla="*/ 6860 h 10000"/>
              <a:gd name="connsiteX5" fmla="*/ 136 w 10000"/>
              <a:gd name="connsiteY5" fmla="*/ 6898 h 10000"/>
              <a:gd name="connsiteX6" fmla="*/ 205 w 10000"/>
              <a:gd name="connsiteY6" fmla="*/ 6963 h 10000"/>
              <a:gd name="connsiteX7" fmla="*/ 282 w 10000"/>
              <a:gd name="connsiteY7" fmla="*/ 7053 h 10000"/>
              <a:gd name="connsiteX8" fmla="*/ 368 w 10000"/>
              <a:gd name="connsiteY8" fmla="*/ 7169 h 10000"/>
              <a:gd name="connsiteX9" fmla="*/ 457 w 10000"/>
              <a:gd name="connsiteY9" fmla="*/ 7310 h 10000"/>
              <a:gd name="connsiteX10" fmla="*/ 552 w 10000"/>
              <a:gd name="connsiteY10" fmla="*/ 7490 h 10000"/>
              <a:gd name="connsiteX11" fmla="*/ 596 w 10000"/>
              <a:gd name="connsiteY11" fmla="*/ 7593 h 10000"/>
              <a:gd name="connsiteX12" fmla="*/ 644 w 10000"/>
              <a:gd name="connsiteY12" fmla="*/ 7709 h 10000"/>
              <a:gd name="connsiteX13" fmla="*/ 691 w 10000"/>
              <a:gd name="connsiteY13" fmla="*/ 7838 h 10000"/>
              <a:gd name="connsiteX14" fmla="*/ 736 w 10000"/>
              <a:gd name="connsiteY14" fmla="*/ 7967 h 10000"/>
              <a:gd name="connsiteX15" fmla="*/ 780 w 10000"/>
              <a:gd name="connsiteY15" fmla="*/ 8121 h 10000"/>
              <a:gd name="connsiteX16" fmla="*/ 825 w 10000"/>
              <a:gd name="connsiteY16" fmla="*/ 8275 h 10000"/>
              <a:gd name="connsiteX17" fmla="*/ 866 w 10000"/>
              <a:gd name="connsiteY17" fmla="*/ 8443 h 10000"/>
              <a:gd name="connsiteX18" fmla="*/ 908 w 10000"/>
              <a:gd name="connsiteY18" fmla="*/ 8623 h 10000"/>
              <a:gd name="connsiteX19" fmla="*/ 947 w 10000"/>
              <a:gd name="connsiteY19" fmla="*/ 8816 h 10000"/>
              <a:gd name="connsiteX20" fmla="*/ 982 w 10000"/>
              <a:gd name="connsiteY20" fmla="*/ 9022 h 10000"/>
              <a:gd name="connsiteX21" fmla="*/ 1015 w 10000"/>
              <a:gd name="connsiteY21" fmla="*/ 9254 h 10000"/>
              <a:gd name="connsiteX22" fmla="*/ 1047 w 10000"/>
              <a:gd name="connsiteY22" fmla="*/ 9485 h 10000"/>
              <a:gd name="connsiteX23" fmla="*/ 1074 w 10000"/>
              <a:gd name="connsiteY23" fmla="*/ 9743 h 10000"/>
              <a:gd name="connsiteX24" fmla="*/ 1101 w 10000"/>
              <a:gd name="connsiteY24" fmla="*/ 10000 h 10000"/>
              <a:gd name="connsiteX25" fmla="*/ 1101 w 10000"/>
              <a:gd name="connsiteY25" fmla="*/ 10000 h 10000"/>
              <a:gd name="connsiteX26" fmla="*/ 1113 w 10000"/>
              <a:gd name="connsiteY26" fmla="*/ 9884 h 10000"/>
              <a:gd name="connsiteX27" fmla="*/ 1131 w 10000"/>
              <a:gd name="connsiteY27" fmla="*/ 9743 h 10000"/>
              <a:gd name="connsiteX28" fmla="*/ 1157 w 10000"/>
              <a:gd name="connsiteY28" fmla="*/ 9562 h 10000"/>
              <a:gd name="connsiteX29" fmla="*/ 1190 w 10000"/>
              <a:gd name="connsiteY29" fmla="*/ 9344 h 10000"/>
              <a:gd name="connsiteX30" fmla="*/ 1231 w 10000"/>
              <a:gd name="connsiteY30" fmla="*/ 9112 h 10000"/>
              <a:gd name="connsiteX31" fmla="*/ 1282 w 10000"/>
              <a:gd name="connsiteY31" fmla="*/ 8842 h 10000"/>
              <a:gd name="connsiteX32" fmla="*/ 1338 w 10000"/>
              <a:gd name="connsiteY32" fmla="*/ 8571 h 10000"/>
              <a:gd name="connsiteX33" fmla="*/ 1404 w 10000"/>
              <a:gd name="connsiteY33" fmla="*/ 8301 h 10000"/>
              <a:gd name="connsiteX34" fmla="*/ 1442 w 10000"/>
              <a:gd name="connsiteY34" fmla="*/ 8160 h 10000"/>
              <a:gd name="connsiteX35" fmla="*/ 1481 w 10000"/>
              <a:gd name="connsiteY35" fmla="*/ 8031 h 10000"/>
              <a:gd name="connsiteX36" fmla="*/ 1519 w 10000"/>
              <a:gd name="connsiteY36" fmla="*/ 7902 h 10000"/>
              <a:gd name="connsiteX37" fmla="*/ 1564 w 10000"/>
              <a:gd name="connsiteY37" fmla="*/ 7773 h 10000"/>
              <a:gd name="connsiteX38" fmla="*/ 1608 w 10000"/>
              <a:gd name="connsiteY38" fmla="*/ 7645 h 10000"/>
              <a:gd name="connsiteX39" fmla="*/ 1659 w 10000"/>
              <a:gd name="connsiteY39" fmla="*/ 7529 h 10000"/>
              <a:gd name="connsiteX40" fmla="*/ 1706 w 10000"/>
              <a:gd name="connsiteY40" fmla="*/ 7413 h 10000"/>
              <a:gd name="connsiteX41" fmla="*/ 1760 w 10000"/>
              <a:gd name="connsiteY41" fmla="*/ 7310 h 10000"/>
              <a:gd name="connsiteX42" fmla="*/ 1816 w 10000"/>
              <a:gd name="connsiteY42" fmla="*/ 7220 h 10000"/>
              <a:gd name="connsiteX43" fmla="*/ 1872 w 10000"/>
              <a:gd name="connsiteY43" fmla="*/ 7130 h 10000"/>
              <a:gd name="connsiteX44" fmla="*/ 1932 w 10000"/>
              <a:gd name="connsiteY44" fmla="*/ 7066 h 10000"/>
              <a:gd name="connsiteX45" fmla="*/ 1997 w 10000"/>
              <a:gd name="connsiteY45" fmla="*/ 7001 h 10000"/>
              <a:gd name="connsiteX46" fmla="*/ 2062 w 10000"/>
              <a:gd name="connsiteY46" fmla="*/ 6950 h 10000"/>
              <a:gd name="connsiteX47" fmla="*/ 2128 w 10000"/>
              <a:gd name="connsiteY47" fmla="*/ 6911 h 10000"/>
              <a:gd name="connsiteX48" fmla="*/ 9012 w 10000"/>
              <a:gd name="connsiteY48" fmla="*/ 6911 h 10000"/>
              <a:gd name="connsiteX49" fmla="*/ 9012 w 10000"/>
              <a:gd name="connsiteY49" fmla="*/ 6911 h 10000"/>
              <a:gd name="connsiteX50" fmla="*/ 9039 w 10000"/>
              <a:gd name="connsiteY50" fmla="*/ 6911 h 10000"/>
              <a:gd name="connsiteX51" fmla="*/ 9071 w 10000"/>
              <a:gd name="connsiteY51" fmla="*/ 6911 h 10000"/>
              <a:gd name="connsiteX52" fmla="*/ 9110 w 10000"/>
              <a:gd name="connsiteY52" fmla="*/ 6898 h 10000"/>
              <a:gd name="connsiteX53" fmla="*/ 9163 w 10000"/>
              <a:gd name="connsiteY53" fmla="*/ 6873 h 10000"/>
              <a:gd name="connsiteX54" fmla="*/ 9220 w 10000"/>
              <a:gd name="connsiteY54" fmla="*/ 6821 h 10000"/>
              <a:gd name="connsiteX55" fmla="*/ 9285 w 10000"/>
              <a:gd name="connsiteY55" fmla="*/ 6757 h 10000"/>
              <a:gd name="connsiteX56" fmla="*/ 9356 w 10000"/>
              <a:gd name="connsiteY56" fmla="*/ 6654 h 10000"/>
              <a:gd name="connsiteX57" fmla="*/ 9433 w 10000"/>
              <a:gd name="connsiteY57" fmla="*/ 6512 h 10000"/>
              <a:gd name="connsiteX58" fmla="*/ 9472 w 10000"/>
              <a:gd name="connsiteY58" fmla="*/ 6422 h 10000"/>
              <a:gd name="connsiteX59" fmla="*/ 9510 w 10000"/>
              <a:gd name="connsiteY59" fmla="*/ 6332 h 10000"/>
              <a:gd name="connsiteX60" fmla="*/ 9552 w 10000"/>
              <a:gd name="connsiteY60" fmla="*/ 6229 h 10000"/>
              <a:gd name="connsiteX61" fmla="*/ 9593 w 10000"/>
              <a:gd name="connsiteY61" fmla="*/ 6113 h 10000"/>
              <a:gd name="connsiteX62" fmla="*/ 9635 w 10000"/>
              <a:gd name="connsiteY62" fmla="*/ 5985 h 10000"/>
              <a:gd name="connsiteX63" fmla="*/ 9677 w 10000"/>
              <a:gd name="connsiteY63" fmla="*/ 5843 h 10000"/>
              <a:gd name="connsiteX64" fmla="*/ 9718 w 10000"/>
              <a:gd name="connsiteY64" fmla="*/ 5689 h 10000"/>
              <a:gd name="connsiteX65" fmla="*/ 9757 w 10000"/>
              <a:gd name="connsiteY65" fmla="*/ 5521 h 10000"/>
              <a:gd name="connsiteX66" fmla="*/ 9798 w 10000"/>
              <a:gd name="connsiteY66" fmla="*/ 5328 h 10000"/>
              <a:gd name="connsiteX67" fmla="*/ 9840 w 10000"/>
              <a:gd name="connsiteY67" fmla="*/ 5135 h 10000"/>
              <a:gd name="connsiteX68" fmla="*/ 9878 w 10000"/>
              <a:gd name="connsiteY68" fmla="*/ 4916 h 10000"/>
              <a:gd name="connsiteX69" fmla="*/ 9917 w 10000"/>
              <a:gd name="connsiteY69" fmla="*/ 4685 h 10000"/>
              <a:gd name="connsiteX70" fmla="*/ 9955 w 10000"/>
              <a:gd name="connsiteY70" fmla="*/ 4440 h 10000"/>
              <a:gd name="connsiteX71" fmla="*/ 9994 w 10000"/>
              <a:gd name="connsiteY71" fmla="*/ 4170 h 10000"/>
              <a:gd name="connsiteX72" fmla="*/ 10000 w 10000"/>
              <a:gd name="connsiteY72" fmla="*/ 0 h 10000"/>
              <a:gd name="connsiteX73" fmla="*/ 259 w 10000"/>
              <a:gd name="connsiteY73" fmla="*/ 1230 h 10000"/>
              <a:gd name="connsiteX0" fmla="*/ 86 w 10089"/>
              <a:gd name="connsiteY0" fmla="*/ 597 h 10000"/>
              <a:gd name="connsiteX1" fmla="*/ 89 w 10089"/>
              <a:gd name="connsiteY1" fmla="*/ 6808 h 10000"/>
              <a:gd name="connsiteX2" fmla="*/ 89 w 10089"/>
              <a:gd name="connsiteY2" fmla="*/ 6808 h 10000"/>
              <a:gd name="connsiteX3" fmla="*/ 128 w 10089"/>
              <a:gd name="connsiteY3" fmla="*/ 6834 h 10000"/>
              <a:gd name="connsiteX4" fmla="*/ 169 w 10089"/>
              <a:gd name="connsiteY4" fmla="*/ 6860 h 10000"/>
              <a:gd name="connsiteX5" fmla="*/ 225 w 10089"/>
              <a:gd name="connsiteY5" fmla="*/ 6898 h 10000"/>
              <a:gd name="connsiteX6" fmla="*/ 294 w 10089"/>
              <a:gd name="connsiteY6" fmla="*/ 6963 h 10000"/>
              <a:gd name="connsiteX7" fmla="*/ 371 w 10089"/>
              <a:gd name="connsiteY7" fmla="*/ 7053 h 10000"/>
              <a:gd name="connsiteX8" fmla="*/ 457 w 10089"/>
              <a:gd name="connsiteY8" fmla="*/ 7169 h 10000"/>
              <a:gd name="connsiteX9" fmla="*/ 546 w 10089"/>
              <a:gd name="connsiteY9" fmla="*/ 7310 h 10000"/>
              <a:gd name="connsiteX10" fmla="*/ 641 w 10089"/>
              <a:gd name="connsiteY10" fmla="*/ 7490 h 10000"/>
              <a:gd name="connsiteX11" fmla="*/ 685 w 10089"/>
              <a:gd name="connsiteY11" fmla="*/ 7593 h 10000"/>
              <a:gd name="connsiteX12" fmla="*/ 733 w 10089"/>
              <a:gd name="connsiteY12" fmla="*/ 7709 h 10000"/>
              <a:gd name="connsiteX13" fmla="*/ 780 w 10089"/>
              <a:gd name="connsiteY13" fmla="*/ 7838 h 10000"/>
              <a:gd name="connsiteX14" fmla="*/ 825 w 10089"/>
              <a:gd name="connsiteY14" fmla="*/ 7967 h 10000"/>
              <a:gd name="connsiteX15" fmla="*/ 869 w 10089"/>
              <a:gd name="connsiteY15" fmla="*/ 8121 h 10000"/>
              <a:gd name="connsiteX16" fmla="*/ 914 w 10089"/>
              <a:gd name="connsiteY16" fmla="*/ 8275 h 10000"/>
              <a:gd name="connsiteX17" fmla="*/ 955 w 10089"/>
              <a:gd name="connsiteY17" fmla="*/ 8443 h 10000"/>
              <a:gd name="connsiteX18" fmla="*/ 997 w 10089"/>
              <a:gd name="connsiteY18" fmla="*/ 8623 h 10000"/>
              <a:gd name="connsiteX19" fmla="*/ 1036 w 10089"/>
              <a:gd name="connsiteY19" fmla="*/ 8816 h 10000"/>
              <a:gd name="connsiteX20" fmla="*/ 1071 w 10089"/>
              <a:gd name="connsiteY20" fmla="*/ 9022 h 10000"/>
              <a:gd name="connsiteX21" fmla="*/ 1104 w 10089"/>
              <a:gd name="connsiteY21" fmla="*/ 9254 h 10000"/>
              <a:gd name="connsiteX22" fmla="*/ 1136 w 10089"/>
              <a:gd name="connsiteY22" fmla="*/ 9485 h 10000"/>
              <a:gd name="connsiteX23" fmla="*/ 1163 w 10089"/>
              <a:gd name="connsiteY23" fmla="*/ 9743 h 10000"/>
              <a:gd name="connsiteX24" fmla="*/ 1190 w 10089"/>
              <a:gd name="connsiteY24" fmla="*/ 10000 h 10000"/>
              <a:gd name="connsiteX25" fmla="*/ 1190 w 10089"/>
              <a:gd name="connsiteY25" fmla="*/ 10000 h 10000"/>
              <a:gd name="connsiteX26" fmla="*/ 1202 w 10089"/>
              <a:gd name="connsiteY26" fmla="*/ 9884 h 10000"/>
              <a:gd name="connsiteX27" fmla="*/ 1220 w 10089"/>
              <a:gd name="connsiteY27" fmla="*/ 9743 h 10000"/>
              <a:gd name="connsiteX28" fmla="*/ 1246 w 10089"/>
              <a:gd name="connsiteY28" fmla="*/ 9562 h 10000"/>
              <a:gd name="connsiteX29" fmla="*/ 1279 w 10089"/>
              <a:gd name="connsiteY29" fmla="*/ 9344 h 10000"/>
              <a:gd name="connsiteX30" fmla="*/ 1320 w 10089"/>
              <a:gd name="connsiteY30" fmla="*/ 9112 h 10000"/>
              <a:gd name="connsiteX31" fmla="*/ 1371 w 10089"/>
              <a:gd name="connsiteY31" fmla="*/ 8842 h 10000"/>
              <a:gd name="connsiteX32" fmla="*/ 1427 w 10089"/>
              <a:gd name="connsiteY32" fmla="*/ 8571 h 10000"/>
              <a:gd name="connsiteX33" fmla="*/ 1493 w 10089"/>
              <a:gd name="connsiteY33" fmla="*/ 8301 h 10000"/>
              <a:gd name="connsiteX34" fmla="*/ 1531 w 10089"/>
              <a:gd name="connsiteY34" fmla="*/ 8160 h 10000"/>
              <a:gd name="connsiteX35" fmla="*/ 1570 w 10089"/>
              <a:gd name="connsiteY35" fmla="*/ 8031 h 10000"/>
              <a:gd name="connsiteX36" fmla="*/ 1608 w 10089"/>
              <a:gd name="connsiteY36" fmla="*/ 7902 h 10000"/>
              <a:gd name="connsiteX37" fmla="*/ 1653 w 10089"/>
              <a:gd name="connsiteY37" fmla="*/ 7773 h 10000"/>
              <a:gd name="connsiteX38" fmla="*/ 1697 w 10089"/>
              <a:gd name="connsiteY38" fmla="*/ 7645 h 10000"/>
              <a:gd name="connsiteX39" fmla="*/ 1748 w 10089"/>
              <a:gd name="connsiteY39" fmla="*/ 7529 h 10000"/>
              <a:gd name="connsiteX40" fmla="*/ 1795 w 10089"/>
              <a:gd name="connsiteY40" fmla="*/ 7413 h 10000"/>
              <a:gd name="connsiteX41" fmla="*/ 1849 w 10089"/>
              <a:gd name="connsiteY41" fmla="*/ 7310 h 10000"/>
              <a:gd name="connsiteX42" fmla="*/ 1905 w 10089"/>
              <a:gd name="connsiteY42" fmla="*/ 7220 h 10000"/>
              <a:gd name="connsiteX43" fmla="*/ 1961 w 10089"/>
              <a:gd name="connsiteY43" fmla="*/ 7130 h 10000"/>
              <a:gd name="connsiteX44" fmla="*/ 2021 w 10089"/>
              <a:gd name="connsiteY44" fmla="*/ 7066 h 10000"/>
              <a:gd name="connsiteX45" fmla="*/ 2086 w 10089"/>
              <a:gd name="connsiteY45" fmla="*/ 7001 h 10000"/>
              <a:gd name="connsiteX46" fmla="*/ 2151 w 10089"/>
              <a:gd name="connsiteY46" fmla="*/ 6950 h 10000"/>
              <a:gd name="connsiteX47" fmla="*/ 2217 w 10089"/>
              <a:gd name="connsiteY47" fmla="*/ 6911 h 10000"/>
              <a:gd name="connsiteX48" fmla="*/ 9101 w 10089"/>
              <a:gd name="connsiteY48" fmla="*/ 6911 h 10000"/>
              <a:gd name="connsiteX49" fmla="*/ 9101 w 10089"/>
              <a:gd name="connsiteY49" fmla="*/ 6911 h 10000"/>
              <a:gd name="connsiteX50" fmla="*/ 9128 w 10089"/>
              <a:gd name="connsiteY50" fmla="*/ 6911 h 10000"/>
              <a:gd name="connsiteX51" fmla="*/ 9160 w 10089"/>
              <a:gd name="connsiteY51" fmla="*/ 6911 h 10000"/>
              <a:gd name="connsiteX52" fmla="*/ 9199 w 10089"/>
              <a:gd name="connsiteY52" fmla="*/ 6898 h 10000"/>
              <a:gd name="connsiteX53" fmla="*/ 9252 w 10089"/>
              <a:gd name="connsiteY53" fmla="*/ 6873 h 10000"/>
              <a:gd name="connsiteX54" fmla="*/ 9309 w 10089"/>
              <a:gd name="connsiteY54" fmla="*/ 6821 h 10000"/>
              <a:gd name="connsiteX55" fmla="*/ 9374 w 10089"/>
              <a:gd name="connsiteY55" fmla="*/ 6757 h 10000"/>
              <a:gd name="connsiteX56" fmla="*/ 9445 w 10089"/>
              <a:gd name="connsiteY56" fmla="*/ 6654 h 10000"/>
              <a:gd name="connsiteX57" fmla="*/ 9522 w 10089"/>
              <a:gd name="connsiteY57" fmla="*/ 6512 h 10000"/>
              <a:gd name="connsiteX58" fmla="*/ 9561 w 10089"/>
              <a:gd name="connsiteY58" fmla="*/ 6422 h 10000"/>
              <a:gd name="connsiteX59" fmla="*/ 9599 w 10089"/>
              <a:gd name="connsiteY59" fmla="*/ 6332 h 10000"/>
              <a:gd name="connsiteX60" fmla="*/ 9641 w 10089"/>
              <a:gd name="connsiteY60" fmla="*/ 6229 h 10000"/>
              <a:gd name="connsiteX61" fmla="*/ 9682 w 10089"/>
              <a:gd name="connsiteY61" fmla="*/ 6113 h 10000"/>
              <a:gd name="connsiteX62" fmla="*/ 9724 w 10089"/>
              <a:gd name="connsiteY62" fmla="*/ 5985 h 10000"/>
              <a:gd name="connsiteX63" fmla="*/ 9766 w 10089"/>
              <a:gd name="connsiteY63" fmla="*/ 5843 h 10000"/>
              <a:gd name="connsiteX64" fmla="*/ 9807 w 10089"/>
              <a:gd name="connsiteY64" fmla="*/ 5689 h 10000"/>
              <a:gd name="connsiteX65" fmla="*/ 9846 w 10089"/>
              <a:gd name="connsiteY65" fmla="*/ 5521 h 10000"/>
              <a:gd name="connsiteX66" fmla="*/ 9887 w 10089"/>
              <a:gd name="connsiteY66" fmla="*/ 5328 h 10000"/>
              <a:gd name="connsiteX67" fmla="*/ 9929 w 10089"/>
              <a:gd name="connsiteY67" fmla="*/ 5135 h 10000"/>
              <a:gd name="connsiteX68" fmla="*/ 9967 w 10089"/>
              <a:gd name="connsiteY68" fmla="*/ 4916 h 10000"/>
              <a:gd name="connsiteX69" fmla="*/ 10006 w 10089"/>
              <a:gd name="connsiteY69" fmla="*/ 4685 h 10000"/>
              <a:gd name="connsiteX70" fmla="*/ 10044 w 10089"/>
              <a:gd name="connsiteY70" fmla="*/ 4440 h 10000"/>
              <a:gd name="connsiteX71" fmla="*/ 10083 w 10089"/>
              <a:gd name="connsiteY71" fmla="*/ 4170 h 10000"/>
              <a:gd name="connsiteX72" fmla="*/ 10089 w 10089"/>
              <a:gd name="connsiteY72" fmla="*/ 0 h 10000"/>
              <a:gd name="connsiteX73" fmla="*/ 86 w 10089"/>
              <a:gd name="connsiteY73" fmla="*/ 597 h 10000"/>
              <a:gd name="connsiteX0" fmla="*/ 0 w 10003"/>
              <a:gd name="connsiteY0" fmla="*/ 597 h 10000"/>
              <a:gd name="connsiteX1" fmla="*/ 3 w 10003"/>
              <a:gd name="connsiteY1" fmla="*/ 6808 h 10000"/>
              <a:gd name="connsiteX2" fmla="*/ 3 w 10003"/>
              <a:gd name="connsiteY2" fmla="*/ 6808 h 10000"/>
              <a:gd name="connsiteX3" fmla="*/ 42 w 10003"/>
              <a:gd name="connsiteY3" fmla="*/ 6834 h 10000"/>
              <a:gd name="connsiteX4" fmla="*/ 83 w 10003"/>
              <a:gd name="connsiteY4" fmla="*/ 6860 h 10000"/>
              <a:gd name="connsiteX5" fmla="*/ 139 w 10003"/>
              <a:gd name="connsiteY5" fmla="*/ 6898 h 10000"/>
              <a:gd name="connsiteX6" fmla="*/ 208 w 10003"/>
              <a:gd name="connsiteY6" fmla="*/ 6963 h 10000"/>
              <a:gd name="connsiteX7" fmla="*/ 285 w 10003"/>
              <a:gd name="connsiteY7" fmla="*/ 7053 h 10000"/>
              <a:gd name="connsiteX8" fmla="*/ 371 w 10003"/>
              <a:gd name="connsiteY8" fmla="*/ 7169 h 10000"/>
              <a:gd name="connsiteX9" fmla="*/ 460 w 10003"/>
              <a:gd name="connsiteY9" fmla="*/ 7310 h 10000"/>
              <a:gd name="connsiteX10" fmla="*/ 555 w 10003"/>
              <a:gd name="connsiteY10" fmla="*/ 7490 h 10000"/>
              <a:gd name="connsiteX11" fmla="*/ 599 w 10003"/>
              <a:gd name="connsiteY11" fmla="*/ 7593 h 10000"/>
              <a:gd name="connsiteX12" fmla="*/ 647 w 10003"/>
              <a:gd name="connsiteY12" fmla="*/ 7709 h 10000"/>
              <a:gd name="connsiteX13" fmla="*/ 694 w 10003"/>
              <a:gd name="connsiteY13" fmla="*/ 7838 h 10000"/>
              <a:gd name="connsiteX14" fmla="*/ 739 w 10003"/>
              <a:gd name="connsiteY14" fmla="*/ 7967 h 10000"/>
              <a:gd name="connsiteX15" fmla="*/ 783 w 10003"/>
              <a:gd name="connsiteY15" fmla="*/ 8121 h 10000"/>
              <a:gd name="connsiteX16" fmla="*/ 828 w 10003"/>
              <a:gd name="connsiteY16" fmla="*/ 8275 h 10000"/>
              <a:gd name="connsiteX17" fmla="*/ 869 w 10003"/>
              <a:gd name="connsiteY17" fmla="*/ 8443 h 10000"/>
              <a:gd name="connsiteX18" fmla="*/ 911 w 10003"/>
              <a:gd name="connsiteY18" fmla="*/ 8623 h 10000"/>
              <a:gd name="connsiteX19" fmla="*/ 950 w 10003"/>
              <a:gd name="connsiteY19" fmla="*/ 8816 h 10000"/>
              <a:gd name="connsiteX20" fmla="*/ 985 w 10003"/>
              <a:gd name="connsiteY20" fmla="*/ 9022 h 10000"/>
              <a:gd name="connsiteX21" fmla="*/ 1018 w 10003"/>
              <a:gd name="connsiteY21" fmla="*/ 9254 h 10000"/>
              <a:gd name="connsiteX22" fmla="*/ 1050 w 10003"/>
              <a:gd name="connsiteY22" fmla="*/ 9485 h 10000"/>
              <a:gd name="connsiteX23" fmla="*/ 1077 w 10003"/>
              <a:gd name="connsiteY23" fmla="*/ 9743 h 10000"/>
              <a:gd name="connsiteX24" fmla="*/ 1104 w 10003"/>
              <a:gd name="connsiteY24" fmla="*/ 10000 h 10000"/>
              <a:gd name="connsiteX25" fmla="*/ 1104 w 10003"/>
              <a:gd name="connsiteY25" fmla="*/ 10000 h 10000"/>
              <a:gd name="connsiteX26" fmla="*/ 1116 w 10003"/>
              <a:gd name="connsiteY26" fmla="*/ 9884 h 10000"/>
              <a:gd name="connsiteX27" fmla="*/ 1134 w 10003"/>
              <a:gd name="connsiteY27" fmla="*/ 9743 h 10000"/>
              <a:gd name="connsiteX28" fmla="*/ 1160 w 10003"/>
              <a:gd name="connsiteY28" fmla="*/ 9562 h 10000"/>
              <a:gd name="connsiteX29" fmla="*/ 1193 w 10003"/>
              <a:gd name="connsiteY29" fmla="*/ 9344 h 10000"/>
              <a:gd name="connsiteX30" fmla="*/ 1234 w 10003"/>
              <a:gd name="connsiteY30" fmla="*/ 9112 h 10000"/>
              <a:gd name="connsiteX31" fmla="*/ 1285 w 10003"/>
              <a:gd name="connsiteY31" fmla="*/ 8842 h 10000"/>
              <a:gd name="connsiteX32" fmla="*/ 1341 w 10003"/>
              <a:gd name="connsiteY32" fmla="*/ 8571 h 10000"/>
              <a:gd name="connsiteX33" fmla="*/ 1407 w 10003"/>
              <a:gd name="connsiteY33" fmla="*/ 8301 h 10000"/>
              <a:gd name="connsiteX34" fmla="*/ 1445 w 10003"/>
              <a:gd name="connsiteY34" fmla="*/ 8160 h 10000"/>
              <a:gd name="connsiteX35" fmla="*/ 1484 w 10003"/>
              <a:gd name="connsiteY35" fmla="*/ 8031 h 10000"/>
              <a:gd name="connsiteX36" fmla="*/ 1522 w 10003"/>
              <a:gd name="connsiteY36" fmla="*/ 7902 h 10000"/>
              <a:gd name="connsiteX37" fmla="*/ 1567 w 10003"/>
              <a:gd name="connsiteY37" fmla="*/ 7773 h 10000"/>
              <a:gd name="connsiteX38" fmla="*/ 1611 w 10003"/>
              <a:gd name="connsiteY38" fmla="*/ 7645 h 10000"/>
              <a:gd name="connsiteX39" fmla="*/ 1662 w 10003"/>
              <a:gd name="connsiteY39" fmla="*/ 7529 h 10000"/>
              <a:gd name="connsiteX40" fmla="*/ 1709 w 10003"/>
              <a:gd name="connsiteY40" fmla="*/ 7413 h 10000"/>
              <a:gd name="connsiteX41" fmla="*/ 1763 w 10003"/>
              <a:gd name="connsiteY41" fmla="*/ 7310 h 10000"/>
              <a:gd name="connsiteX42" fmla="*/ 1819 w 10003"/>
              <a:gd name="connsiteY42" fmla="*/ 7220 h 10000"/>
              <a:gd name="connsiteX43" fmla="*/ 1875 w 10003"/>
              <a:gd name="connsiteY43" fmla="*/ 7130 h 10000"/>
              <a:gd name="connsiteX44" fmla="*/ 1935 w 10003"/>
              <a:gd name="connsiteY44" fmla="*/ 7066 h 10000"/>
              <a:gd name="connsiteX45" fmla="*/ 2000 w 10003"/>
              <a:gd name="connsiteY45" fmla="*/ 7001 h 10000"/>
              <a:gd name="connsiteX46" fmla="*/ 2065 w 10003"/>
              <a:gd name="connsiteY46" fmla="*/ 6950 h 10000"/>
              <a:gd name="connsiteX47" fmla="*/ 2131 w 10003"/>
              <a:gd name="connsiteY47" fmla="*/ 6911 h 10000"/>
              <a:gd name="connsiteX48" fmla="*/ 9015 w 10003"/>
              <a:gd name="connsiteY48" fmla="*/ 6911 h 10000"/>
              <a:gd name="connsiteX49" fmla="*/ 9015 w 10003"/>
              <a:gd name="connsiteY49" fmla="*/ 6911 h 10000"/>
              <a:gd name="connsiteX50" fmla="*/ 9042 w 10003"/>
              <a:gd name="connsiteY50" fmla="*/ 6911 h 10000"/>
              <a:gd name="connsiteX51" fmla="*/ 9074 w 10003"/>
              <a:gd name="connsiteY51" fmla="*/ 6911 h 10000"/>
              <a:gd name="connsiteX52" fmla="*/ 9113 w 10003"/>
              <a:gd name="connsiteY52" fmla="*/ 6898 h 10000"/>
              <a:gd name="connsiteX53" fmla="*/ 9166 w 10003"/>
              <a:gd name="connsiteY53" fmla="*/ 6873 h 10000"/>
              <a:gd name="connsiteX54" fmla="*/ 9223 w 10003"/>
              <a:gd name="connsiteY54" fmla="*/ 6821 h 10000"/>
              <a:gd name="connsiteX55" fmla="*/ 9288 w 10003"/>
              <a:gd name="connsiteY55" fmla="*/ 6757 h 10000"/>
              <a:gd name="connsiteX56" fmla="*/ 9359 w 10003"/>
              <a:gd name="connsiteY56" fmla="*/ 6654 h 10000"/>
              <a:gd name="connsiteX57" fmla="*/ 9436 w 10003"/>
              <a:gd name="connsiteY57" fmla="*/ 6512 h 10000"/>
              <a:gd name="connsiteX58" fmla="*/ 9475 w 10003"/>
              <a:gd name="connsiteY58" fmla="*/ 6422 h 10000"/>
              <a:gd name="connsiteX59" fmla="*/ 9513 w 10003"/>
              <a:gd name="connsiteY59" fmla="*/ 6332 h 10000"/>
              <a:gd name="connsiteX60" fmla="*/ 9555 w 10003"/>
              <a:gd name="connsiteY60" fmla="*/ 6229 h 10000"/>
              <a:gd name="connsiteX61" fmla="*/ 9596 w 10003"/>
              <a:gd name="connsiteY61" fmla="*/ 6113 h 10000"/>
              <a:gd name="connsiteX62" fmla="*/ 9638 w 10003"/>
              <a:gd name="connsiteY62" fmla="*/ 5985 h 10000"/>
              <a:gd name="connsiteX63" fmla="*/ 9680 w 10003"/>
              <a:gd name="connsiteY63" fmla="*/ 5843 h 10000"/>
              <a:gd name="connsiteX64" fmla="*/ 9721 w 10003"/>
              <a:gd name="connsiteY64" fmla="*/ 5689 h 10000"/>
              <a:gd name="connsiteX65" fmla="*/ 9760 w 10003"/>
              <a:gd name="connsiteY65" fmla="*/ 5521 h 10000"/>
              <a:gd name="connsiteX66" fmla="*/ 9801 w 10003"/>
              <a:gd name="connsiteY66" fmla="*/ 5328 h 10000"/>
              <a:gd name="connsiteX67" fmla="*/ 9843 w 10003"/>
              <a:gd name="connsiteY67" fmla="*/ 5135 h 10000"/>
              <a:gd name="connsiteX68" fmla="*/ 9881 w 10003"/>
              <a:gd name="connsiteY68" fmla="*/ 4916 h 10000"/>
              <a:gd name="connsiteX69" fmla="*/ 9920 w 10003"/>
              <a:gd name="connsiteY69" fmla="*/ 4685 h 10000"/>
              <a:gd name="connsiteX70" fmla="*/ 9958 w 10003"/>
              <a:gd name="connsiteY70" fmla="*/ 4440 h 10000"/>
              <a:gd name="connsiteX71" fmla="*/ 9997 w 10003"/>
              <a:gd name="connsiteY71" fmla="*/ 4170 h 10000"/>
              <a:gd name="connsiteX72" fmla="*/ 10003 w 10003"/>
              <a:gd name="connsiteY72" fmla="*/ 0 h 10000"/>
              <a:gd name="connsiteX73" fmla="*/ 0 w 10003"/>
              <a:gd name="connsiteY73" fmla="*/ 597 h 10000"/>
              <a:gd name="connsiteX0" fmla="*/ 0 w 9997"/>
              <a:gd name="connsiteY0" fmla="*/ 0 h 9403"/>
              <a:gd name="connsiteX1" fmla="*/ 3 w 9997"/>
              <a:gd name="connsiteY1" fmla="*/ 6211 h 9403"/>
              <a:gd name="connsiteX2" fmla="*/ 3 w 9997"/>
              <a:gd name="connsiteY2" fmla="*/ 6211 h 9403"/>
              <a:gd name="connsiteX3" fmla="*/ 42 w 9997"/>
              <a:gd name="connsiteY3" fmla="*/ 6237 h 9403"/>
              <a:gd name="connsiteX4" fmla="*/ 83 w 9997"/>
              <a:gd name="connsiteY4" fmla="*/ 6263 h 9403"/>
              <a:gd name="connsiteX5" fmla="*/ 139 w 9997"/>
              <a:gd name="connsiteY5" fmla="*/ 6301 h 9403"/>
              <a:gd name="connsiteX6" fmla="*/ 208 w 9997"/>
              <a:gd name="connsiteY6" fmla="*/ 6366 h 9403"/>
              <a:gd name="connsiteX7" fmla="*/ 285 w 9997"/>
              <a:gd name="connsiteY7" fmla="*/ 6456 h 9403"/>
              <a:gd name="connsiteX8" fmla="*/ 371 w 9997"/>
              <a:gd name="connsiteY8" fmla="*/ 6572 h 9403"/>
              <a:gd name="connsiteX9" fmla="*/ 460 w 9997"/>
              <a:gd name="connsiteY9" fmla="*/ 6713 h 9403"/>
              <a:gd name="connsiteX10" fmla="*/ 555 w 9997"/>
              <a:gd name="connsiteY10" fmla="*/ 6893 h 9403"/>
              <a:gd name="connsiteX11" fmla="*/ 599 w 9997"/>
              <a:gd name="connsiteY11" fmla="*/ 6996 h 9403"/>
              <a:gd name="connsiteX12" fmla="*/ 647 w 9997"/>
              <a:gd name="connsiteY12" fmla="*/ 7112 h 9403"/>
              <a:gd name="connsiteX13" fmla="*/ 694 w 9997"/>
              <a:gd name="connsiteY13" fmla="*/ 7241 h 9403"/>
              <a:gd name="connsiteX14" fmla="*/ 739 w 9997"/>
              <a:gd name="connsiteY14" fmla="*/ 7370 h 9403"/>
              <a:gd name="connsiteX15" fmla="*/ 783 w 9997"/>
              <a:gd name="connsiteY15" fmla="*/ 7524 h 9403"/>
              <a:gd name="connsiteX16" fmla="*/ 828 w 9997"/>
              <a:gd name="connsiteY16" fmla="*/ 7678 h 9403"/>
              <a:gd name="connsiteX17" fmla="*/ 869 w 9997"/>
              <a:gd name="connsiteY17" fmla="*/ 7846 h 9403"/>
              <a:gd name="connsiteX18" fmla="*/ 911 w 9997"/>
              <a:gd name="connsiteY18" fmla="*/ 8026 h 9403"/>
              <a:gd name="connsiteX19" fmla="*/ 950 w 9997"/>
              <a:gd name="connsiteY19" fmla="*/ 8219 h 9403"/>
              <a:gd name="connsiteX20" fmla="*/ 985 w 9997"/>
              <a:gd name="connsiteY20" fmla="*/ 8425 h 9403"/>
              <a:gd name="connsiteX21" fmla="*/ 1018 w 9997"/>
              <a:gd name="connsiteY21" fmla="*/ 8657 h 9403"/>
              <a:gd name="connsiteX22" fmla="*/ 1050 w 9997"/>
              <a:gd name="connsiteY22" fmla="*/ 8888 h 9403"/>
              <a:gd name="connsiteX23" fmla="*/ 1077 w 9997"/>
              <a:gd name="connsiteY23" fmla="*/ 9146 h 9403"/>
              <a:gd name="connsiteX24" fmla="*/ 1104 w 9997"/>
              <a:gd name="connsiteY24" fmla="*/ 9403 h 9403"/>
              <a:gd name="connsiteX25" fmla="*/ 1104 w 9997"/>
              <a:gd name="connsiteY25" fmla="*/ 9403 h 9403"/>
              <a:gd name="connsiteX26" fmla="*/ 1116 w 9997"/>
              <a:gd name="connsiteY26" fmla="*/ 9287 h 9403"/>
              <a:gd name="connsiteX27" fmla="*/ 1134 w 9997"/>
              <a:gd name="connsiteY27" fmla="*/ 9146 h 9403"/>
              <a:gd name="connsiteX28" fmla="*/ 1160 w 9997"/>
              <a:gd name="connsiteY28" fmla="*/ 8965 h 9403"/>
              <a:gd name="connsiteX29" fmla="*/ 1193 w 9997"/>
              <a:gd name="connsiteY29" fmla="*/ 8747 h 9403"/>
              <a:gd name="connsiteX30" fmla="*/ 1234 w 9997"/>
              <a:gd name="connsiteY30" fmla="*/ 8515 h 9403"/>
              <a:gd name="connsiteX31" fmla="*/ 1285 w 9997"/>
              <a:gd name="connsiteY31" fmla="*/ 8245 h 9403"/>
              <a:gd name="connsiteX32" fmla="*/ 1341 w 9997"/>
              <a:gd name="connsiteY32" fmla="*/ 7974 h 9403"/>
              <a:gd name="connsiteX33" fmla="*/ 1407 w 9997"/>
              <a:gd name="connsiteY33" fmla="*/ 7704 h 9403"/>
              <a:gd name="connsiteX34" fmla="*/ 1445 w 9997"/>
              <a:gd name="connsiteY34" fmla="*/ 7563 h 9403"/>
              <a:gd name="connsiteX35" fmla="*/ 1484 w 9997"/>
              <a:gd name="connsiteY35" fmla="*/ 7434 h 9403"/>
              <a:gd name="connsiteX36" fmla="*/ 1522 w 9997"/>
              <a:gd name="connsiteY36" fmla="*/ 7305 h 9403"/>
              <a:gd name="connsiteX37" fmla="*/ 1567 w 9997"/>
              <a:gd name="connsiteY37" fmla="*/ 7176 h 9403"/>
              <a:gd name="connsiteX38" fmla="*/ 1611 w 9997"/>
              <a:gd name="connsiteY38" fmla="*/ 7048 h 9403"/>
              <a:gd name="connsiteX39" fmla="*/ 1662 w 9997"/>
              <a:gd name="connsiteY39" fmla="*/ 6932 h 9403"/>
              <a:gd name="connsiteX40" fmla="*/ 1709 w 9997"/>
              <a:gd name="connsiteY40" fmla="*/ 6816 h 9403"/>
              <a:gd name="connsiteX41" fmla="*/ 1763 w 9997"/>
              <a:gd name="connsiteY41" fmla="*/ 6713 h 9403"/>
              <a:gd name="connsiteX42" fmla="*/ 1819 w 9997"/>
              <a:gd name="connsiteY42" fmla="*/ 6623 h 9403"/>
              <a:gd name="connsiteX43" fmla="*/ 1875 w 9997"/>
              <a:gd name="connsiteY43" fmla="*/ 6533 h 9403"/>
              <a:gd name="connsiteX44" fmla="*/ 1935 w 9997"/>
              <a:gd name="connsiteY44" fmla="*/ 6469 h 9403"/>
              <a:gd name="connsiteX45" fmla="*/ 2000 w 9997"/>
              <a:gd name="connsiteY45" fmla="*/ 6404 h 9403"/>
              <a:gd name="connsiteX46" fmla="*/ 2065 w 9997"/>
              <a:gd name="connsiteY46" fmla="*/ 6353 h 9403"/>
              <a:gd name="connsiteX47" fmla="*/ 2131 w 9997"/>
              <a:gd name="connsiteY47" fmla="*/ 6314 h 9403"/>
              <a:gd name="connsiteX48" fmla="*/ 9015 w 9997"/>
              <a:gd name="connsiteY48" fmla="*/ 6314 h 9403"/>
              <a:gd name="connsiteX49" fmla="*/ 9015 w 9997"/>
              <a:gd name="connsiteY49" fmla="*/ 6314 h 9403"/>
              <a:gd name="connsiteX50" fmla="*/ 9042 w 9997"/>
              <a:gd name="connsiteY50" fmla="*/ 6314 h 9403"/>
              <a:gd name="connsiteX51" fmla="*/ 9074 w 9997"/>
              <a:gd name="connsiteY51" fmla="*/ 6314 h 9403"/>
              <a:gd name="connsiteX52" fmla="*/ 9113 w 9997"/>
              <a:gd name="connsiteY52" fmla="*/ 6301 h 9403"/>
              <a:gd name="connsiteX53" fmla="*/ 9166 w 9997"/>
              <a:gd name="connsiteY53" fmla="*/ 6276 h 9403"/>
              <a:gd name="connsiteX54" fmla="*/ 9223 w 9997"/>
              <a:gd name="connsiteY54" fmla="*/ 6224 h 9403"/>
              <a:gd name="connsiteX55" fmla="*/ 9288 w 9997"/>
              <a:gd name="connsiteY55" fmla="*/ 6160 h 9403"/>
              <a:gd name="connsiteX56" fmla="*/ 9359 w 9997"/>
              <a:gd name="connsiteY56" fmla="*/ 6057 h 9403"/>
              <a:gd name="connsiteX57" fmla="*/ 9436 w 9997"/>
              <a:gd name="connsiteY57" fmla="*/ 5915 h 9403"/>
              <a:gd name="connsiteX58" fmla="*/ 9475 w 9997"/>
              <a:gd name="connsiteY58" fmla="*/ 5825 h 9403"/>
              <a:gd name="connsiteX59" fmla="*/ 9513 w 9997"/>
              <a:gd name="connsiteY59" fmla="*/ 5735 h 9403"/>
              <a:gd name="connsiteX60" fmla="*/ 9555 w 9997"/>
              <a:gd name="connsiteY60" fmla="*/ 5632 h 9403"/>
              <a:gd name="connsiteX61" fmla="*/ 9596 w 9997"/>
              <a:gd name="connsiteY61" fmla="*/ 5516 h 9403"/>
              <a:gd name="connsiteX62" fmla="*/ 9638 w 9997"/>
              <a:gd name="connsiteY62" fmla="*/ 5388 h 9403"/>
              <a:gd name="connsiteX63" fmla="*/ 9680 w 9997"/>
              <a:gd name="connsiteY63" fmla="*/ 5246 h 9403"/>
              <a:gd name="connsiteX64" fmla="*/ 9721 w 9997"/>
              <a:gd name="connsiteY64" fmla="*/ 5092 h 9403"/>
              <a:gd name="connsiteX65" fmla="*/ 9760 w 9997"/>
              <a:gd name="connsiteY65" fmla="*/ 4924 h 9403"/>
              <a:gd name="connsiteX66" fmla="*/ 9801 w 9997"/>
              <a:gd name="connsiteY66" fmla="*/ 4731 h 9403"/>
              <a:gd name="connsiteX67" fmla="*/ 9843 w 9997"/>
              <a:gd name="connsiteY67" fmla="*/ 4538 h 9403"/>
              <a:gd name="connsiteX68" fmla="*/ 9881 w 9997"/>
              <a:gd name="connsiteY68" fmla="*/ 4319 h 9403"/>
              <a:gd name="connsiteX69" fmla="*/ 9920 w 9997"/>
              <a:gd name="connsiteY69" fmla="*/ 4088 h 9403"/>
              <a:gd name="connsiteX70" fmla="*/ 9958 w 9997"/>
              <a:gd name="connsiteY70" fmla="*/ 3843 h 9403"/>
              <a:gd name="connsiteX71" fmla="*/ 9997 w 9997"/>
              <a:gd name="connsiteY71" fmla="*/ 3573 h 9403"/>
              <a:gd name="connsiteX72" fmla="*/ 9833 w 9997"/>
              <a:gd name="connsiteY72" fmla="*/ 422 h 9403"/>
              <a:gd name="connsiteX73" fmla="*/ 0 w 9997"/>
              <a:gd name="connsiteY73" fmla="*/ 0 h 9403"/>
              <a:gd name="connsiteX0" fmla="*/ 0 w 10061"/>
              <a:gd name="connsiteY0" fmla="*/ 0 h 10000"/>
              <a:gd name="connsiteX1" fmla="*/ 3 w 10061"/>
              <a:gd name="connsiteY1" fmla="*/ 6605 h 10000"/>
              <a:gd name="connsiteX2" fmla="*/ 3 w 10061"/>
              <a:gd name="connsiteY2" fmla="*/ 6605 h 10000"/>
              <a:gd name="connsiteX3" fmla="*/ 42 w 10061"/>
              <a:gd name="connsiteY3" fmla="*/ 6633 h 10000"/>
              <a:gd name="connsiteX4" fmla="*/ 83 w 10061"/>
              <a:gd name="connsiteY4" fmla="*/ 6661 h 10000"/>
              <a:gd name="connsiteX5" fmla="*/ 139 w 10061"/>
              <a:gd name="connsiteY5" fmla="*/ 6701 h 10000"/>
              <a:gd name="connsiteX6" fmla="*/ 208 w 10061"/>
              <a:gd name="connsiteY6" fmla="*/ 6770 h 10000"/>
              <a:gd name="connsiteX7" fmla="*/ 285 w 10061"/>
              <a:gd name="connsiteY7" fmla="*/ 6866 h 10000"/>
              <a:gd name="connsiteX8" fmla="*/ 371 w 10061"/>
              <a:gd name="connsiteY8" fmla="*/ 6989 h 10000"/>
              <a:gd name="connsiteX9" fmla="*/ 460 w 10061"/>
              <a:gd name="connsiteY9" fmla="*/ 7139 h 10000"/>
              <a:gd name="connsiteX10" fmla="*/ 555 w 10061"/>
              <a:gd name="connsiteY10" fmla="*/ 7331 h 10000"/>
              <a:gd name="connsiteX11" fmla="*/ 599 w 10061"/>
              <a:gd name="connsiteY11" fmla="*/ 7440 h 10000"/>
              <a:gd name="connsiteX12" fmla="*/ 647 w 10061"/>
              <a:gd name="connsiteY12" fmla="*/ 7564 h 10000"/>
              <a:gd name="connsiteX13" fmla="*/ 694 w 10061"/>
              <a:gd name="connsiteY13" fmla="*/ 7701 h 10000"/>
              <a:gd name="connsiteX14" fmla="*/ 739 w 10061"/>
              <a:gd name="connsiteY14" fmla="*/ 7838 h 10000"/>
              <a:gd name="connsiteX15" fmla="*/ 783 w 10061"/>
              <a:gd name="connsiteY15" fmla="*/ 8002 h 10000"/>
              <a:gd name="connsiteX16" fmla="*/ 828 w 10061"/>
              <a:gd name="connsiteY16" fmla="*/ 8165 h 10000"/>
              <a:gd name="connsiteX17" fmla="*/ 869 w 10061"/>
              <a:gd name="connsiteY17" fmla="*/ 8344 h 10000"/>
              <a:gd name="connsiteX18" fmla="*/ 911 w 10061"/>
              <a:gd name="connsiteY18" fmla="*/ 8536 h 10000"/>
              <a:gd name="connsiteX19" fmla="*/ 950 w 10061"/>
              <a:gd name="connsiteY19" fmla="*/ 8741 h 10000"/>
              <a:gd name="connsiteX20" fmla="*/ 985 w 10061"/>
              <a:gd name="connsiteY20" fmla="*/ 8960 h 10000"/>
              <a:gd name="connsiteX21" fmla="*/ 1018 w 10061"/>
              <a:gd name="connsiteY21" fmla="*/ 9207 h 10000"/>
              <a:gd name="connsiteX22" fmla="*/ 1050 w 10061"/>
              <a:gd name="connsiteY22" fmla="*/ 9452 h 10000"/>
              <a:gd name="connsiteX23" fmla="*/ 1077 w 10061"/>
              <a:gd name="connsiteY23" fmla="*/ 9727 h 10000"/>
              <a:gd name="connsiteX24" fmla="*/ 1104 w 10061"/>
              <a:gd name="connsiteY24" fmla="*/ 10000 h 10000"/>
              <a:gd name="connsiteX25" fmla="*/ 1104 w 10061"/>
              <a:gd name="connsiteY25" fmla="*/ 10000 h 10000"/>
              <a:gd name="connsiteX26" fmla="*/ 1116 w 10061"/>
              <a:gd name="connsiteY26" fmla="*/ 9877 h 10000"/>
              <a:gd name="connsiteX27" fmla="*/ 1134 w 10061"/>
              <a:gd name="connsiteY27" fmla="*/ 9727 h 10000"/>
              <a:gd name="connsiteX28" fmla="*/ 1160 w 10061"/>
              <a:gd name="connsiteY28" fmla="*/ 9534 h 10000"/>
              <a:gd name="connsiteX29" fmla="*/ 1193 w 10061"/>
              <a:gd name="connsiteY29" fmla="*/ 9302 h 10000"/>
              <a:gd name="connsiteX30" fmla="*/ 1234 w 10061"/>
              <a:gd name="connsiteY30" fmla="*/ 9056 h 10000"/>
              <a:gd name="connsiteX31" fmla="*/ 1285 w 10061"/>
              <a:gd name="connsiteY31" fmla="*/ 8768 h 10000"/>
              <a:gd name="connsiteX32" fmla="*/ 1341 w 10061"/>
              <a:gd name="connsiteY32" fmla="*/ 8480 h 10000"/>
              <a:gd name="connsiteX33" fmla="*/ 1407 w 10061"/>
              <a:gd name="connsiteY33" fmla="*/ 8193 h 10000"/>
              <a:gd name="connsiteX34" fmla="*/ 1445 w 10061"/>
              <a:gd name="connsiteY34" fmla="*/ 8043 h 10000"/>
              <a:gd name="connsiteX35" fmla="*/ 1484 w 10061"/>
              <a:gd name="connsiteY35" fmla="*/ 7906 h 10000"/>
              <a:gd name="connsiteX36" fmla="*/ 1522 w 10061"/>
              <a:gd name="connsiteY36" fmla="*/ 7769 h 10000"/>
              <a:gd name="connsiteX37" fmla="*/ 1567 w 10061"/>
              <a:gd name="connsiteY37" fmla="*/ 7632 h 10000"/>
              <a:gd name="connsiteX38" fmla="*/ 1611 w 10061"/>
              <a:gd name="connsiteY38" fmla="*/ 7495 h 10000"/>
              <a:gd name="connsiteX39" fmla="*/ 1662 w 10061"/>
              <a:gd name="connsiteY39" fmla="*/ 7372 h 10000"/>
              <a:gd name="connsiteX40" fmla="*/ 1710 w 10061"/>
              <a:gd name="connsiteY40" fmla="*/ 7249 h 10000"/>
              <a:gd name="connsiteX41" fmla="*/ 1764 w 10061"/>
              <a:gd name="connsiteY41" fmla="*/ 7139 h 10000"/>
              <a:gd name="connsiteX42" fmla="*/ 1820 w 10061"/>
              <a:gd name="connsiteY42" fmla="*/ 7043 h 10000"/>
              <a:gd name="connsiteX43" fmla="*/ 1876 w 10061"/>
              <a:gd name="connsiteY43" fmla="*/ 6948 h 10000"/>
              <a:gd name="connsiteX44" fmla="*/ 1936 w 10061"/>
              <a:gd name="connsiteY44" fmla="*/ 6880 h 10000"/>
              <a:gd name="connsiteX45" fmla="*/ 2001 w 10061"/>
              <a:gd name="connsiteY45" fmla="*/ 6811 h 10000"/>
              <a:gd name="connsiteX46" fmla="*/ 2066 w 10061"/>
              <a:gd name="connsiteY46" fmla="*/ 6756 h 10000"/>
              <a:gd name="connsiteX47" fmla="*/ 2132 w 10061"/>
              <a:gd name="connsiteY47" fmla="*/ 6715 h 10000"/>
              <a:gd name="connsiteX48" fmla="*/ 9018 w 10061"/>
              <a:gd name="connsiteY48" fmla="*/ 6715 h 10000"/>
              <a:gd name="connsiteX49" fmla="*/ 9018 w 10061"/>
              <a:gd name="connsiteY49" fmla="*/ 6715 h 10000"/>
              <a:gd name="connsiteX50" fmla="*/ 9045 w 10061"/>
              <a:gd name="connsiteY50" fmla="*/ 6715 h 10000"/>
              <a:gd name="connsiteX51" fmla="*/ 9077 w 10061"/>
              <a:gd name="connsiteY51" fmla="*/ 6715 h 10000"/>
              <a:gd name="connsiteX52" fmla="*/ 9116 w 10061"/>
              <a:gd name="connsiteY52" fmla="*/ 6701 h 10000"/>
              <a:gd name="connsiteX53" fmla="*/ 9169 w 10061"/>
              <a:gd name="connsiteY53" fmla="*/ 6674 h 10000"/>
              <a:gd name="connsiteX54" fmla="*/ 9226 w 10061"/>
              <a:gd name="connsiteY54" fmla="*/ 6619 h 10000"/>
              <a:gd name="connsiteX55" fmla="*/ 9291 w 10061"/>
              <a:gd name="connsiteY55" fmla="*/ 6551 h 10000"/>
              <a:gd name="connsiteX56" fmla="*/ 9362 w 10061"/>
              <a:gd name="connsiteY56" fmla="*/ 6442 h 10000"/>
              <a:gd name="connsiteX57" fmla="*/ 9439 w 10061"/>
              <a:gd name="connsiteY57" fmla="*/ 6291 h 10000"/>
              <a:gd name="connsiteX58" fmla="*/ 9478 w 10061"/>
              <a:gd name="connsiteY58" fmla="*/ 6195 h 10000"/>
              <a:gd name="connsiteX59" fmla="*/ 9516 w 10061"/>
              <a:gd name="connsiteY59" fmla="*/ 6099 h 10000"/>
              <a:gd name="connsiteX60" fmla="*/ 9558 w 10061"/>
              <a:gd name="connsiteY60" fmla="*/ 5990 h 10000"/>
              <a:gd name="connsiteX61" fmla="*/ 9599 w 10061"/>
              <a:gd name="connsiteY61" fmla="*/ 5866 h 10000"/>
              <a:gd name="connsiteX62" fmla="*/ 9641 w 10061"/>
              <a:gd name="connsiteY62" fmla="*/ 5730 h 10000"/>
              <a:gd name="connsiteX63" fmla="*/ 9683 w 10061"/>
              <a:gd name="connsiteY63" fmla="*/ 5579 h 10000"/>
              <a:gd name="connsiteX64" fmla="*/ 9724 w 10061"/>
              <a:gd name="connsiteY64" fmla="*/ 5415 h 10000"/>
              <a:gd name="connsiteX65" fmla="*/ 9763 w 10061"/>
              <a:gd name="connsiteY65" fmla="*/ 5237 h 10000"/>
              <a:gd name="connsiteX66" fmla="*/ 9804 w 10061"/>
              <a:gd name="connsiteY66" fmla="*/ 5031 h 10000"/>
              <a:gd name="connsiteX67" fmla="*/ 9846 w 10061"/>
              <a:gd name="connsiteY67" fmla="*/ 4826 h 10000"/>
              <a:gd name="connsiteX68" fmla="*/ 9884 w 10061"/>
              <a:gd name="connsiteY68" fmla="*/ 4593 h 10000"/>
              <a:gd name="connsiteX69" fmla="*/ 9923 w 10061"/>
              <a:gd name="connsiteY69" fmla="*/ 4348 h 10000"/>
              <a:gd name="connsiteX70" fmla="*/ 9961 w 10061"/>
              <a:gd name="connsiteY70" fmla="*/ 4087 h 10000"/>
              <a:gd name="connsiteX71" fmla="*/ 10000 w 10061"/>
              <a:gd name="connsiteY71" fmla="*/ 3800 h 10000"/>
              <a:gd name="connsiteX72" fmla="*/ 10006 w 10061"/>
              <a:gd name="connsiteY72" fmla="*/ 0 h 10000"/>
              <a:gd name="connsiteX73" fmla="*/ 0 w 10061"/>
              <a:gd name="connsiteY73" fmla="*/ 0 h 10000"/>
              <a:gd name="connsiteX0" fmla="*/ 0 w 10006"/>
              <a:gd name="connsiteY0" fmla="*/ 0 h 10000"/>
              <a:gd name="connsiteX1" fmla="*/ 3 w 10006"/>
              <a:gd name="connsiteY1" fmla="*/ 6605 h 10000"/>
              <a:gd name="connsiteX2" fmla="*/ 3 w 10006"/>
              <a:gd name="connsiteY2" fmla="*/ 6605 h 10000"/>
              <a:gd name="connsiteX3" fmla="*/ 42 w 10006"/>
              <a:gd name="connsiteY3" fmla="*/ 6633 h 10000"/>
              <a:gd name="connsiteX4" fmla="*/ 83 w 10006"/>
              <a:gd name="connsiteY4" fmla="*/ 6661 h 10000"/>
              <a:gd name="connsiteX5" fmla="*/ 139 w 10006"/>
              <a:gd name="connsiteY5" fmla="*/ 6701 h 10000"/>
              <a:gd name="connsiteX6" fmla="*/ 208 w 10006"/>
              <a:gd name="connsiteY6" fmla="*/ 6770 h 10000"/>
              <a:gd name="connsiteX7" fmla="*/ 285 w 10006"/>
              <a:gd name="connsiteY7" fmla="*/ 6866 h 10000"/>
              <a:gd name="connsiteX8" fmla="*/ 371 w 10006"/>
              <a:gd name="connsiteY8" fmla="*/ 6989 h 10000"/>
              <a:gd name="connsiteX9" fmla="*/ 460 w 10006"/>
              <a:gd name="connsiteY9" fmla="*/ 7139 h 10000"/>
              <a:gd name="connsiteX10" fmla="*/ 555 w 10006"/>
              <a:gd name="connsiteY10" fmla="*/ 7331 h 10000"/>
              <a:gd name="connsiteX11" fmla="*/ 599 w 10006"/>
              <a:gd name="connsiteY11" fmla="*/ 7440 h 10000"/>
              <a:gd name="connsiteX12" fmla="*/ 647 w 10006"/>
              <a:gd name="connsiteY12" fmla="*/ 7564 h 10000"/>
              <a:gd name="connsiteX13" fmla="*/ 694 w 10006"/>
              <a:gd name="connsiteY13" fmla="*/ 7701 h 10000"/>
              <a:gd name="connsiteX14" fmla="*/ 739 w 10006"/>
              <a:gd name="connsiteY14" fmla="*/ 7838 h 10000"/>
              <a:gd name="connsiteX15" fmla="*/ 783 w 10006"/>
              <a:gd name="connsiteY15" fmla="*/ 8002 h 10000"/>
              <a:gd name="connsiteX16" fmla="*/ 828 w 10006"/>
              <a:gd name="connsiteY16" fmla="*/ 8165 h 10000"/>
              <a:gd name="connsiteX17" fmla="*/ 869 w 10006"/>
              <a:gd name="connsiteY17" fmla="*/ 8344 h 10000"/>
              <a:gd name="connsiteX18" fmla="*/ 911 w 10006"/>
              <a:gd name="connsiteY18" fmla="*/ 8536 h 10000"/>
              <a:gd name="connsiteX19" fmla="*/ 950 w 10006"/>
              <a:gd name="connsiteY19" fmla="*/ 8741 h 10000"/>
              <a:gd name="connsiteX20" fmla="*/ 985 w 10006"/>
              <a:gd name="connsiteY20" fmla="*/ 8960 h 10000"/>
              <a:gd name="connsiteX21" fmla="*/ 1018 w 10006"/>
              <a:gd name="connsiteY21" fmla="*/ 9207 h 10000"/>
              <a:gd name="connsiteX22" fmla="*/ 1050 w 10006"/>
              <a:gd name="connsiteY22" fmla="*/ 9452 h 10000"/>
              <a:gd name="connsiteX23" fmla="*/ 1077 w 10006"/>
              <a:gd name="connsiteY23" fmla="*/ 9727 h 10000"/>
              <a:gd name="connsiteX24" fmla="*/ 1104 w 10006"/>
              <a:gd name="connsiteY24" fmla="*/ 10000 h 10000"/>
              <a:gd name="connsiteX25" fmla="*/ 1104 w 10006"/>
              <a:gd name="connsiteY25" fmla="*/ 10000 h 10000"/>
              <a:gd name="connsiteX26" fmla="*/ 1116 w 10006"/>
              <a:gd name="connsiteY26" fmla="*/ 9877 h 10000"/>
              <a:gd name="connsiteX27" fmla="*/ 1134 w 10006"/>
              <a:gd name="connsiteY27" fmla="*/ 9727 h 10000"/>
              <a:gd name="connsiteX28" fmla="*/ 1160 w 10006"/>
              <a:gd name="connsiteY28" fmla="*/ 9534 h 10000"/>
              <a:gd name="connsiteX29" fmla="*/ 1193 w 10006"/>
              <a:gd name="connsiteY29" fmla="*/ 9302 h 10000"/>
              <a:gd name="connsiteX30" fmla="*/ 1234 w 10006"/>
              <a:gd name="connsiteY30" fmla="*/ 9056 h 10000"/>
              <a:gd name="connsiteX31" fmla="*/ 1285 w 10006"/>
              <a:gd name="connsiteY31" fmla="*/ 8768 h 10000"/>
              <a:gd name="connsiteX32" fmla="*/ 1341 w 10006"/>
              <a:gd name="connsiteY32" fmla="*/ 8480 h 10000"/>
              <a:gd name="connsiteX33" fmla="*/ 1407 w 10006"/>
              <a:gd name="connsiteY33" fmla="*/ 8193 h 10000"/>
              <a:gd name="connsiteX34" fmla="*/ 1445 w 10006"/>
              <a:gd name="connsiteY34" fmla="*/ 8043 h 10000"/>
              <a:gd name="connsiteX35" fmla="*/ 1484 w 10006"/>
              <a:gd name="connsiteY35" fmla="*/ 7906 h 10000"/>
              <a:gd name="connsiteX36" fmla="*/ 1522 w 10006"/>
              <a:gd name="connsiteY36" fmla="*/ 7769 h 10000"/>
              <a:gd name="connsiteX37" fmla="*/ 1567 w 10006"/>
              <a:gd name="connsiteY37" fmla="*/ 7632 h 10000"/>
              <a:gd name="connsiteX38" fmla="*/ 1611 w 10006"/>
              <a:gd name="connsiteY38" fmla="*/ 7495 h 10000"/>
              <a:gd name="connsiteX39" fmla="*/ 1662 w 10006"/>
              <a:gd name="connsiteY39" fmla="*/ 7372 h 10000"/>
              <a:gd name="connsiteX40" fmla="*/ 1710 w 10006"/>
              <a:gd name="connsiteY40" fmla="*/ 7249 h 10000"/>
              <a:gd name="connsiteX41" fmla="*/ 1764 w 10006"/>
              <a:gd name="connsiteY41" fmla="*/ 7139 h 10000"/>
              <a:gd name="connsiteX42" fmla="*/ 1820 w 10006"/>
              <a:gd name="connsiteY42" fmla="*/ 7043 h 10000"/>
              <a:gd name="connsiteX43" fmla="*/ 1876 w 10006"/>
              <a:gd name="connsiteY43" fmla="*/ 6948 h 10000"/>
              <a:gd name="connsiteX44" fmla="*/ 1936 w 10006"/>
              <a:gd name="connsiteY44" fmla="*/ 6880 h 10000"/>
              <a:gd name="connsiteX45" fmla="*/ 2001 w 10006"/>
              <a:gd name="connsiteY45" fmla="*/ 6811 h 10000"/>
              <a:gd name="connsiteX46" fmla="*/ 2066 w 10006"/>
              <a:gd name="connsiteY46" fmla="*/ 6756 h 10000"/>
              <a:gd name="connsiteX47" fmla="*/ 2132 w 10006"/>
              <a:gd name="connsiteY47" fmla="*/ 6715 h 10000"/>
              <a:gd name="connsiteX48" fmla="*/ 9018 w 10006"/>
              <a:gd name="connsiteY48" fmla="*/ 6715 h 10000"/>
              <a:gd name="connsiteX49" fmla="*/ 9018 w 10006"/>
              <a:gd name="connsiteY49" fmla="*/ 6715 h 10000"/>
              <a:gd name="connsiteX50" fmla="*/ 9045 w 10006"/>
              <a:gd name="connsiteY50" fmla="*/ 6715 h 10000"/>
              <a:gd name="connsiteX51" fmla="*/ 9077 w 10006"/>
              <a:gd name="connsiteY51" fmla="*/ 6715 h 10000"/>
              <a:gd name="connsiteX52" fmla="*/ 9116 w 10006"/>
              <a:gd name="connsiteY52" fmla="*/ 6701 h 10000"/>
              <a:gd name="connsiteX53" fmla="*/ 9169 w 10006"/>
              <a:gd name="connsiteY53" fmla="*/ 6674 h 10000"/>
              <a:gd name="connsiteX54" fmla="*/ 9226 w 10006"/>
              <a:gd name="connsiteY54" fmla="*/ 6619 h 10000"/>
              <a:gd name="connsiteX55" fmla="*/ 9291 w 10006"/>
              <a:gd name="connsiteY55" fmla="*/ 6551 h 10000"/>
              <a:gd name="connsiteX56" fmla="*/ 9362 w 10006"/>
              <a:gd name="connsiteY56" fmla="*/ 6442 h 10000"/>
              <a:gd name="connsiteX57" fmla="*/ 9439 w 10006"/>
              <a:gd name="connsiteY57" fmla="*/ 6291 h 10000"/>
              <a:gd name="connsiteX58" fmla="*/ 9478 w 10006"/>
              <a:gd name="connsiteY58" fmla="*/ 6195 h 10000"/>
              <a:gd name="connsiteX59" fmla="*/ 9516 w 10006"/>
              <a:gd name="connsiteY59" fmla="*/ 6099 h 10000"/>
              <a:gd name="connsiteX60" fmla="*/ 9558 w 10006"/>
              <a:gd name="connsiteY60" fmla="*/ 5990 h 10000"/>
              <a:gd name="connsiteX61" fmla="*/ 9599 w 10006"/>
              <a:gd name="connsiteY61" fmla="*/ 5866 h 10000"/>
              <a:gd name="connsiteX62" fmla="*/ 9641 w 10006"/>
              <a:gd name="connsiteY62" fmla="*/ 5730 h 10000"/>
              <a:gd name="connsiteX63" fmla="*/ 9683 w 10006"/>
              <a:gd name="connsiteY63" fmla="*/ 5579 h 10000"/>
              <a:gd name="connsiteX64" fmla="*/ 9724 w 10006"/>
              <a:gd name="connsiteY64" fmla="*/ 5415 h 10000"/>
              <a:gd name="connsiteX65" fmla="*/ 9763 w 10006"/>
              <a:gd name="connsiteY65" fmla="*/ 5237 h 10000"/>
              <a:gd name="connsiteX66" fmla="*/ 9804 w 10006"/>
              <a:gd name="connsiteY66" fmla="*/ 5031 h 10000"/>
              <a:gd name="connsiteX67" fmla="*/ 9846 w 10006"/>
              <a:gd name="connsiteY67" fmla="*/ 4826 h 10000"/>
              <a:gd name="connsiteX68" fmla="*/ 9884 w 10006"/>
              <a:gd name="connsiteY68" fmla="*/ 4593 h 10000"/>
              <a:gd name="connsiteX69" fmla="*/ 9923 w 10006"/>
              <a:gd name="connsiteY69" fmla="*/ 4348 h 10000"/>
              <a:gd name="connsiteX70" fmla="*/ 9961 w 10006"/>
              <a:gd name="connsiteY70" fmla="*/ 4087 h 10000"/>
              <a:gd name="connsiteX71" fmla="*/ 10000 w 10006"/>
              <a:gd name="connsiteY71" fmla="*/ 3800 h 10000"/>
              <a:gd name="connsiteX72" fmla="*/ 10006 w 10006"/>
              <a:gd name="connsiteY72" fmla="*/ 0 h 10000"/>
              <a:gd name="connsiteX73" fmla="*/ 0 w 10006"/>
              <a:gd name="connsiteY73" fmla="*/ 0 h 10000"/>
              <a:gd name="connsiteX0" fmla="*/ 444 w 10004"/>
              <a:gd name="connsiteY0" fmla="*/ 3736 h 10000"/>
              <a:gd name="connsiteX1" fmla="*/ 1 w 10004"/>
              <a:gd name="connsiteY1" fmla="*/ 6605 h 10000"/>
              <a:gd name="connsiteX2" fmla="*/ 1 w 10004"/>
              <a:gd name="connsiteY2" fmla="*/ 6605 h 10000"/>
              <a:gd name="connsiteX3" fmla="*/ 40 w 10004"/>
              <a:gd name="connsiteY3" fmla="*/ 6633 h 10000"/>
              <a:gd name="connsiteX4" fmla="*/ 81 w 10004"/>
              <a:gd name="connsiteY4" fmla="*/ 6661 h 10000"/>
              <a:gd name="connsiteX5" fmla="*/ 137 w 10004"/>
              <a:gd name="connsiteY5" fmla="*/ 6701 h 10000"/>
              <a:gd name="connsiteX6" fmla="*/ 206 w 10004"/>
              <a:gd name="connsiteY6" fmla="*/ 6770 h 10000"/>
              <a:gd name="connsiteX7" fmla="*/ 283 w 10004"/>
              <a:gd name="connsiteY7" fmla="*/ 6866 h 10000"/>
              <a:gd name="connsiteX8" fmla="*/ 369 w 10004"/>
              <a:gd name="connsiteY8" fmla="*/ 6989 h 10000"/>
              <a:gd name="connsiteX9" fmla="*/ 458 w 10004"/>
              <a:gd name="connsiteY9" fmla="*/ 7139 h 10000"/>
              <a:gd name="connsiteX10" fmla="*/ 553 w 10004"/>
              <a:gd name="connsiteY10" fmla="*/ 7331 h 10000"/>
              <a:gd name="connsiteX11" fmla="*/ 597 w 10004"/>
              <a:gd name="connsiteY11" fmla="*/ 7440 h 10000"/>
              <a:gd name="connsiteX12" fmla="*/ 645 w 10004"/>
              <a:gd name="connsiteY12" fmla="*/ 7564 h 10000"/>
              <a:gd name="connsiteX13" fmla="*/ 692 w 10004"/>
              <a:gd name="connsiteY13" fmla="*/ 7701 h 10000"/>
              <a:gd name="connsiteX14" fmla="*/ 737 w 10004"/>
              <a:gd name="connsiteY14" fmla="*/ 7838 h 10000"/>
              <a:gd name="connsiteX15" fmla="*/ 781 w 10004"/>
              <a:gd name="connsiteY15" fmla="*/ 8002 h 10000"/>
              <a:gd name="connsiteX16" fmla="*/ 826 w 10004"/>
              <a:gd name="connsiteY16" fmla="*/ 8165 h 10000"/>
              <a:gd name="connsiteX17" fmla="*/ 867 w 10004"/>
              <a:gd name="connsiteY17" fmla="*/ 8344 h 10000"/>
              <a:gd name="connsiteX18" fmla="*/ 909 w 10004"/>
              <a:gd name="connsiteY18" fmla="*/ 8536 h 10000"/>
              <a:gd name="connsiteX19" fmla="*/ 948 w 10004"/>
              <a:gd name="connsiteY19" fmla="*/ 8741 h 10000"/>
              <a:gd name="connsiteX20" fmla="*/ 983 w 10004"/>
              <a:gd name="connsiteY20" fmla="*/ 8960 h 10000"/>
              <a:gd name="connsiteX21" fmla="*/ 1016 w 10004"/>
              <a:gd name="connsiteY21" fmla="*/ 9207 h 10000"/>
              <a:gd name="connsiteX22" fmla="*/ 1048 w 10004"/>
              <a:gd name="connsiteY22" fmla="*/ 9452 h 10000"/>
              <a:gd name="connsiteX23" fmla="*/ 1075 w 10004"/>
              <a:gd name="connsiteY23" fmla="*/ 9727 h 10000"/>
              <a:gd name="connsiteX24" fmla="*/ 1102 w 10004"/>
              <a:gd name="connsiteY24" fmla="*/ 10000 h 10000"/>
              <a:gd name="connsiteX25" fmla="*/ 1102 w 10004"/>
              <a:gd name="connsiteY25" fmla="*/ 10000 h 10000"/>
              <a:gd name="connsiteX26" fmla="*/ 1114 w 10004"/>
              <a:gd name="connsiteY26" fmla="*/ 9877 h 10000"/>
              <a:gd name="connsiteX27" fmla="*/ 1132 w 10004"/>
              <a:gd name="connsiteY27" fmla="*/ 9727 h 10000"/>
              <a:gd name="connsiteX28" fmla="*/ 1158 w 10004"/>
              <a:gd name="connsiteY28" fmla="*/ 9534 h 10000"/>
              <a:gd name="connsiteX29" fmla="*/ 1191 w 10004"/>
              <a:gd name="connsiteY29" fmla="*/ 9302 h 10000"/>
              <a:gd name="connsiteX30" fmla="*/ 1232 w 10004"/>
              <a:gd name="connsiteY30" fmla="*/ 9056 h 10000"/>
              <a:gd name="connsiteX31" fmla="*/ 1283 w 10004"/>
              <a:gd name="connsiteY31" fmla="*/ 8768 h 10000"/>
              <a:gd name="connsiteX32" fmla="*/ 1339 w 10004"/>
              <a:gd name="connsiteY32" fmla="*/ 8480 h 10000"/>
              <a:gd name="connsiteX33" fmla="*/ 1405 w 10004"/>
              <a:gd name="connsiteY33" fmla="*/ 8193 h 10000"/>
              <a:gd name="connsiteX34" fmla="*/ 1443 w 10004"/>
              <a:gd name="connsiteY34" fmla="*/ 8043 h 10000"/>
              <a:gd name="connsiteX35" fmla="*/ 1482 w 10004"/>
              <a:gd name="connsiteY35" fmla="*/ 7906 h 10000"/>
              <a:gd name="connsiteX36" fmla="*/ 1520 w 10004"/>
              <a:gd name="connsiteY36" fmla="*/ 7769 h 10000"/>
              <a:gd name="connsiteX37" fmla="*/ 1565 w 10004"/>
              <a:gd name="connsiteY37" fmla="*/ 7632 h 10000"/>
              <a:gd name="connsiteX38" fmla="*/ 1609 w 10004"/>
              <a:gd name="connsiteY38" fmla="*/ 7495 h 10000"/>
              <a:gd name="connsiteX39" fmla="*/ 1660 w 10004"/>
              <a:gd name="connsiteY39" fmla="*/ 7372 h 10000"/>
              <a:gd name="connsiteX40" fmla="*/ 1708 w 10004"/>
              <a:gd name="connsiteY40" fmla="*/ 7249 h 10000"/>
              <a:gd name="connsiteX41" fmla="*/ 1762 w 10004"/>
              <a:gd name="connsiteY41" fmla="*/ 7139 h 10000"/>
              <a:gd name="connsiteX42" fmla="*/ 1818 w 10004"/>
              <a:gd name="connsiteY42" fmla="*/ 7043 h 10000"/>
              <a:gd name="connsiteX43" fmla="*/ 1874 w 10004"/>
              <a:gd name="connsiteY43" fmla="*/ 6948 h 10000"/>
              <a:gd name="connsiteX44" fmla="*/ 1934 w 10004"/>
              <a:gd name="connsiteY44" fmla="*/ 6880 h 10000"/>
              <a:gd name="connsiteX45" fmla="*/ 1999 w 10004"/>
              <a:gd name="connsiteY45" fmla="*/ 6811 h 10000"/>
              <a:gd name="connsiteX46" fmla="*/ 2064 w 10004"/>
              <a:gd name="connsiteY46" fmla="*/ 6756 h 10000"/>
              <a:gd name="connsiteX47" fmla="*/ 2130 w 10004"/>
              <a:gd name="connsiteY47" fmla="*/ 6715 h 10000"/>
              <a:gd name="connsiteX48" fmla="*/ 9016 w 10004"/>
              <a:gd name="connsiteY48" fmla="*/ 6715 h 10000"/>
              <a:gd name="connsiteX49" fmla="*/ 9016 w 10004"/>
              <a:gd name="connsiteY49" fmla="*/ 6715 h 10000"/>
              <a:gd name="connsiteX50" fmla="*/ 9043 w 10004"/>
              <a:gd name="connsiteY50" fmla="*/ 6715 h 10000"/>
              <a:gd name="connsiteX51" fmla="*/ 9075 w 10004"/>
              <a:gd name="connsiteY51" fmla="*/ 6715 h 10000"/>
              <a:gd name="connsiteX52" fmla="*/ 9114 w 10004"/>
              <a:gd name="connsiteY52" fmla="*/ 6701 h 10000"/>
              <a:gd name="connsiteX53" fmla="*/ 9167 w 10004"/>
              <a:gd name="connsiteY53" fmla="*/ 6674 h 10000"/>
              <a:gd name="connsiteX54" fmla="*/ 9224 w 10004"/>
              <a:gd name="connsiteY54" fmla="*/ 6619 h 10000"/>
              <a:gd name="connsiteX55" fmla="*/ 9289 w 10004"/>
              <a:gd name="connsiteY55" fmla="*/ 6551 h 10000"/>
              <a:gd name="connsiteX56" fmla="*/ 9360 w 10004"/>
              <a:gd name="connsiteY56" fmla="*/ 6442 h 10000"/>
              <a:gd name="connsiteX57" fmla="*/ 9437 w 10004"/>
              <a:gd name="connsiteY57" fmla="*/ 6291 h 10000"/>
              <a:gd name="connsiteX58" fmla="*/ 9476 w 10004"/>
              <a:gd name="connsiteY58" fmla="*/ 6195 h 10000"/>
              <a:gd name="connsiteX59" fmla="*/ 9514 w 10004"/>
              <a:gd name="connsiteY59" fmla="*/ 6099 h 10000"/>
              <a:gd name="connsiteX60" fmla="*/ 9556 w 10004"/>
              <a:gd name="connsiteY60" fmla="*/ 5990 h 10000"/>
              <a:gd name="connsiteX61" fmla="*/ 9597 w 10004"/>
              <a:gd name="connsiteY61" fmla="*/ 5866 h 10000"/>
              <a:gd name="connsiteX62" fmla="*/ 9639 w 10004"/>
              <a:gd name="connsiteY62" fmla="*/ 5730 h 10000"/>
              <a:gd name="connsiteX63" fmla="*/ 9681 w 10004"/>
              <a:gd name="connsiteY63" fmla="*/ 5579 h 10000"/>
              <a:gd name="connsiteX64" fmla="*/ 9722 w 10004"/>
              <a:gd name="connsiteY64" fmla="*/ 5415 h 10000"/>
              <a:gd name="connsiteX65" fmla="*/ 9761 w 10004"/>
              <a:gd name="connsiteY65" fmla="*/ 5237 h 10000"/>
              <a:gd name="connsiteX66" fmla="*/ 9802 w 10004"/>
              <a:gd name="connsiteY66" fmla="*/ 5031 h 10000"/>
              <a:gd name="connsiteX67" fmla="*/ 9844 w 10004"/>
              <a:gd name="connsiteY67" fmla="*/ 4826 h 10000"/>
              <a:gd name="connsiteX68" fmla="*/ 9882 w 10004"/>
              <a:gd name="connsiteY68" fmla="*/ 4593 h 10000"/>
              <a:gd name="connsiteX69" fmla="*/ 9921 w 10004"/>
              <a:gd name="connsiteY69" fmla="*/ 4348 h 10000"/>
              <a:gd name="connsiteX70" fmla="*/ 9959 w 10004"/>
              <a:gd name="connsiteY70" fmla="*/ 4087 h 10000"/>
              <a:gd name="connsiteX71" fmla="*/ 9998 w 10004"/>
              <a:gd name="connsiteY71" fmla="*/ 3800 h 10000"/>
              <a:gd name="connsiteX72" fmla="*/ 10004 w 10004"/>
              <a:gd name="connsiteY72" fmla="*/ 0 h 10000"/>
              <a:gd name="connsiteX73" fmla="*/ 444 w 10004"/>
              <a:gd name="connsiteY73" fmla="*/ 3736 h 10000"/>
              <a:gd name="connsiteX0" fmla="*/ 0 w 10006"/>
              <a:gd name="connsiteY0" fmla="*/ 2055 h 10000"/>
              <a:gd name="connsiteX1" fmla="*/ 3 w 10006"/>
              <a:gd name="connsiteY1" fmla="*/ 6605 h 10000"/>
              <a:gd name="connsiteX2" fmla="*/ 3 w 10006"/>
              <a:gd name="connsiteY2" fmla="*/ 6605 h 10000"/>
              <a:gd name="connsiteX3" fmla="*/ 42 w 10006"/>
              <a:gd name="connsiteY3" fmla="*/ 6633 h 10000"/>
              <a:gd name="connsiteX4" fmla="*/ 83 w 10006"/>
              <a:gd name="connsiteY4" fmla="*/ 6661 h 10000"/>
              <a:gd name="connsiteX5" fmla="*/ 139 w 10006"/>
              <a:gd name="connsiteY5" fmla="*/ 6701 h 10000"/>
              <a:gd name="connsiteX6" fmla="*/ 208 w 10006"/>
              <a:gd name="connsiteY6" fmla="*/ 6770 h 10000"/>
              <a:gd name="connsiteX7" fmla="*/ 285 w 10006"/>
              <a:gd name="connsiteY7" fmla="*/ 6866 h 10000"/>
              <a:gd name="connsiteX8" fmla="*/ 371 w 10006"/>
              <a:gd name="connsiteY8" fmla="*/ 6989 h 10000"/>
              <a:gd name="connsiteX9" fmla="*/ 460 w 10006"/>
              <a:gd name="connsiteY9" fmla="*/ 7139 h 10000"/>
              <a:gd name="connsiteX10" fmla="*/ 555 w 10006"/>
              <a:gd name="connsiteY10" fmla="*/ 7331 h 10000"/>
              <a:gd name="connsiteX11" fmla="*/ 599 w 10006"/>
              <a:gd name="connsiteY11" fmla="*/ 7440 h 10000"/>
              <a:gd name="connsiteX12" fmla="*/ 647 w 10006"/>
              <a:gd name="connsiteY12" fmla="*/ 7564 h 10000"/>
              <a:gd name="connsiteX13" fmla="*/ 694 w 10006"/>
              <a:gd name="connsiteY13" fmla="*/ 7701 h 10000"/>
              <a:gd name="connsiteX14" fmla="*/ 739 w 10006"/>
              <a:gd name="connsiteY14" fmla="*/ 7838 h 10000"/>
              <a:gd name="connsiteX15" fmla="*/ 783 w 10006"/>
              <a:gd name="connsiteY15" fmla="*/ 8002 h 10000"/>
              <a:gd name="connsiteX16" fmla="*/ 828 w 10006"/>
              <a:gd name="connsiteY16" fmla="*/ 8165 h 10000"/>
              <a:gd name="connsiteX17" fmla="*/ 869 w 10006"/>
              <a:gd name="connsiteY17" fmla="*/ 8344 h 10000"/>
              <a:gd name="connsiteX18" fmla="*/ 911 w 10006"/>
              <a:gd name="connsiteY18" fmla="*/ 8536 h 10000"/>
              <a:gd name="connsiteX19" fmla="*/ 950 w 10006"/>
              <a:gd name="connsiteY19" fmla="*/ 8741 h 10000"/>
              <a:gd name="connsiteX20" fmla="*/ 985 w 10006"/>
              <a:gd name="connsiteY20" fmla="*/ 8960 h 10000"/>
              <a:gd name="connsiteX21" fmla="*/ 1018 w 10006"/>
              <a:gd name="connsiteY21" fmla="*/ 9207 h 10000"/>
              <a:gd name="connsiteX22" fmla="*/ 1050 w 10006"/>
              <a:gd name="connsiteY22" fmla="*/ 9452 h 10000"/>
              <a:gd name="connsiteX23" fmla="*/ 1077 w 10006"/>
              <a:gd name="connsiteY23" fmla="*/ 9727 h 10000"/>
              <a:gd name="connsiteX24" fmla="*/ 1104 w 10006"/>
              <a:gd name="connsiteY24" fmla="*/ 10000 h 10000"/>
              <a:gd name="connsiteX25" fmla="*/ 1104 w 10006"/>
              <a:gd name="connsiteY25" fmla="*/ 10000 h 10000"/>
              <a:gd name="connsiteX26" fmla="*/ 1116 w 10006"/>
              <a:gd name="connsiteY26" fmla="*/ 9877 h 10000"/>
              <a:gd name="connsiteX27" fmla="*/ 1134 w 10006"/>
              <a:gd name="connsiteY27" fmla="*/ 9727 h 10000"/>
              <a:gd name="connsiteX28" fmla="*/ 1160 w 10006"/>
              <a:gd name="connsiteY28" fmla="*/ 9534 h 10000"/>
              <a:gd name="connsiteX29" fmla="*/ 1193 w 10006"/>
              <a:gd name="connsiteY29" fmla="*/ 9302 h 10000"/>
              <a:gd name="connsiteX30" fmla="*/ 1234 w 10006"/>
              <a:gd name="connsiteY30" fmla="*/ 9056 h 10000"/>
              <a:gd name="connsiteX31" fmla="*/ 1285 w 10006"/>
              <a:gd name="connsiteY31" fmla="*/ 8768 h 10000"/>
              <a:gd name="connsiteX32" fmla="*/ 1341 w 10006"/>
              <a:gd name="connsiteY32" fmla="*/ 8480 h 10000"/>
              <a:gd name="connsiteX33" fmla="*/ 1407 w 10006"/>
              <a:gd name="connsiteY33" fmla="*/ 8193 h 10000"/>
              <a:gd name="connsiteX34" fmla="*/ 1445 w 10006"/>
              <a:gd name="connsiteY34" fmla="*/ 8043 h 10000"/>
              <a:gd name="connsiteX35" fmla="*/ 1484 w 10006"/>
              <a:gd name="connsiteY35" fmla="*/ 7906 h 10000"/>
              <a:gd name="connsiteX36" fmla="*/ 1522 w 10006"/>
              <a:gd name="connsiteY36" fmla="*/ 7769 h 10000"/>
              <a:gd name="connsiteX37" fmla="*/ 1567 w 10006"/>
              <a:gd name="connsiteY37" fmla="*/ 7632 h 10000"/>
              <a:gd name="connsiteX38" fmla="*/ 1611 w 10006"/>
              <a:gd name="connsiteY38" fmla="*/ 7495 h 10000"/>
              <a:gd name="connsiteX39" fmla="*/ 1662 w 10006"/>
              <a:gd name="connsiteY39" fmla="*/ 7372 h 10000"/>
              <a:gd name="connsiteX40" fmla="*/ 1710 w 10006"/>
              <a:gd name="connsiteY40" fmla="*/ 7249 h 10000"/>
              <a:gd name="connsiteX41" fmla="*/ 1764 w 10006"/>
              <a:gd name="connsiteY41" fmla="*/ 7139 h 10000"/>
              <a:gd name="connsiteX42" fmla="*/ 1820 w 10006"/>
              <a:gd name="connsiteY42" fmla="*/ 7043 h 10000"/>
              <a:gd name="connsiteX43" fmla="*/ 1876 w 10006"/>
              <a:gd name="connsiteY43" fmla="*/ 6948 h 10000"/>
              <a:gd name="connsiteX44" fmla="*/ 1936 w 10006"/>
              <a:gd name="connsiteY44" fmla="*/ 6880 h 10000"/>
              <a:gd name="connsiteX45" fmla="*/ 2001 w 10006"/>
              <a:gd name="connsiteY45" fmla="*/ 6811 h 10000"/>
              <a:gd name="connsiteX46" fmla="*/ 2066 w 10006"/>
              <a:gd name="connsiteY46" fmla="*/ 6756 h 10000"/>
              <a:gd name="connsiteX47" fmla="*/ 2132 w 10006"/>
              <a:gd name="connsiteY47" fmla="*/ 6715 h 10000"/>
              <a:gd name="connsiteX48" fmla="*/ 9018 w 10006"/>
              <a:gd name="connsiteY48" fmla="*/ 6715 h 10000"/>
              <a:gd name="connsiteX49" fmla="*/ 9018 w 10006"/>
              <a:gd name="connsiteY49" fmla="*/ 6715 h 10000"/>
              <a:gd name="connsiteX50" fmla="*/ 9045 w 10006"/>
              <a:gd name="connsiteY50" fmla="*/ 6715 h 10000"/>
              <a:gd name="connsiteX51" fmla="*/ 9077 w 10006"/>
              <a:gd name="connsiteY51" fmla="*/ 6715 h 10000"/>
              <a:gd name="connsiteX52" fmla="*/ 9116 w 10006"/>
              <a:gd name="connsiteY52" fmla="*/ 6701 h 10000"/>
              <a:gd name="connsiteX53" fmla="*/ 9169 w 10006"/>
              <a:gd name="connsiteY53" fmla="*/ 6674 h 10000"/>
              <a:gd name="connsiteX54" fmla="*/ 9226 w 10006"/>
              <a:gd name="connsiteY54" fmla="*/ 6619 h 10000"/>
              <a:gd name="connsiteX55" fmla="*/ 9291 w 10006"/>
              <a:gd name="connsiteY55" fmla="*/ 6551 h 10000"/>
              <a:gd name="connsiteX56" fmla="*/ 9362 w 10006"/>
              <a:gd name="connsiteY56" fmla="*/ 6442 h 10000"/>
              <a:gd name="connsiteX57" fmla="*/ 9439 w 10006"/>
              <a:gd name="connsiteY57" fmla="*/ 6291 h 10000"/>
              <a:gd name="connsiteX58" fmla="*/ 9478 w 10006"/>
              <a:gd name="connsiteY58" fmla="*/ 6195 h 10000"/>
              <a:gd name="connsiteX59" fmla="*/ 9516 w 10006"/>
              <a:gd name="connsiteY59" fmla="*/ 6099 h 10000"/>
              <a:gd name="connsiteX60" fmla="*/ 9558 w 10006"/>
              <a:gd name="connsiteY60" fmla="*/ 5990 h 10000"/>
              <a:gd name="connsiteX61" fmla="*/ 9599 w 10006"/>
              <a:gd name="connsiteY61" fmla="*/ 5866 h 10000"/>
              <a:gd name="connsiteX62" fmla="*/ 9641 w 10006"/>
              <a:gd name="connsiteY62" fmla="*/ 5730 h 10000"/>
              <a:gd name="connsiteX63" fmla="*/ 9683 w 10006"/>
              <a:gd name="connsiteY63" fmla="*/ 5579 h 10000"/>
              <a:gd name="connsiteX64" fmla="*/ 9724 w 10006"/>
              <a:gd name="connsiteY64" fmla="*/ 5415 h 10000"/>
              <a:gd name="connsiteX65" fmla="*/ 9763 w 10006"/>
              <a:gd name="connsiteY65" fmla="*/ 5237 h 10000"/>
              <a:gd name="connsiteX66" fmla="*/ 9804 w 10006"/>
              <a:gd name="connsiteY66" fmla="*/ 5031 h 10000"/>
              <a:gd name="connsiteX67" fmla="*/ 9846 w 10006"/>
              <a:gd name="connsiteY67" fmla="*/ 4826 h 10000"/>
              <a:gd name="connsiteX68" fmla="*/ 9884 w 10006"/>
              <a:gd name="connsiteY68" fmla="*/ 4593 h 10000"/>
              <a:gd name="connsiteX69" fmla="*/ 9923 w 10006"/>
              <a:gd name="connsiteY69" fmla="*/ 4348 h 10000"/>
              <a:gd name="connsiteX70" fmla="*/ 9961 w 10006"/>
              <a:gd name="connsiteY70" fmla="*/ 4087 h 10000"/>
              <a:gd name="connsiteX71" fmla="*/ 10000 w 10006"/>
              <a:gd name="connsiteY71" fmla="*/ 3800 h 10000"/>
              <a:gd name="connsiteX72" fmla="*/ 10006 w 10006"/>
              <a:gd name="connsiteY72" fmla="*/ 0 h 10000"/>
              <a:gd name="connsiteX73" fmla="*/ 0 w 10006"/>
              <a:gd name="connsiteY73" fmla="*/ 2055 h 10000"/>
              <a:gd name="connsiteX0" fmla="*/ 0 w 10006"/>
              <a:gd name="connsiteY0" fmla="*/ 2055 h 10000"/>
              <a:gd name="connsiteX1" fmla="*/ 3 w 10006"/>
              <a:gd name="connsiteY1" fmla="*/ 6605 h 10000"/>
              <a:gd name="connsiteX2" fmla="*/ 3 w 10006"/>
              <a:gd name="connsiteY2" fmla="*/ 6605 h 10000"/>
              <a:gd name="connsiteX3" fmla="*/ 42 w 10006"/>
              <a:gd name="connsiteY3" fmla="*/ 6633 h 10000"/>
              <a:gd name="connsiteX4" fmla="*/ 83 w 10006"/>
              <a:gd name="connsiteY4" fmla="*/ 6661 h 10000"/>
              <a:gd name="connsiteX5" fmla="*/ 139 w 10006"/>
              <a:gd name="connsiteY5" fmla="*/ 6701 h 10000"/>
              <a:gd name="connsiteX6" fmla="*/ 208 w 10006"/>
              <a:gd name="connsiteY6" fmla="*/ 6770 h 10000"/>
              <a:gd name="connsiteX7" fmla="*/ 285 w 10006"/>
              <a:gd name="connsiteY7" fmla="*/ 6866 h 10000"/>
              <a:gd name="connsiteX8" fmla="*/ 371 w 10006"/>
              <a:gd name="connsiteY8" fmla="*/ 6989 h 10000"/>
              <a:gd name="connsiteX9" fmla="*/ 460 w 10006"/>
              <a:gd name="connsiteY9" fmla="*/ 7139 h 10000"/>
              <a:gd name="connsiteX10" fmla="*/ 555 w 10006"/>
              <a:gd name="connsiteY10" fmla="*/ 7331 h 10000"/>
              <a:gd name="connsiteX11" fmla="*/ 599 w 10006"/>
              <a:gd name="connsiteY11" fmla="*/ 7440 h 10000"/>
              <a:gd name="connsiteX12" fmla="*/ 647 w 10006"/>
              <a:gd name="connsiteY12" fmla="*/ 7564 h 10000"/>
              <a:gd name="connsiteX13" fmla="*/ 694 w 10006"/>
              <a:gd name="connsiteY13" fmla="*/ 7701 h 10000"/>
              <a:gd name="connsiteX14" fmla="*/ 739 w 10006"/>
              <a:gd name="connsiteY14" fmla="*/ 7838 h 10000"/>
              <a:gd name="connsiteX15" fmla="*/ 783 w 10006"/>
              <a:gd name="connsiteY15" fmla="*/ 8002 h 10000"/>
              <a:gd name="connsiteX16" fmla="*/ 828 w 10006"/>
              <a:gd name="connsiteY16" fmla="*/ 8165 h 10000"/>
              <a:gd name="connsiteX17" fmla="*/ 869 w 10006"/>
              <a:gd name="connsiteY17" fmla="*/ 8344 h 10000"/>
              <a:gd name="connsiteX18" fmla="*/ 911 w 10006"/>
              <a:gd name="connsiteY18" fmla="*/ 8536 h 10000"/>
              <a:gd name="connsiteX19" fmla="*/ 950 w 10006"/>
              <a:gd name="connsiteY19" fmla="*/ 8741 h 10000"/>
              <a:gd name="connsiteX20" fmla="*/ 985 w 10006"/>
              <a:gd name="connsiteY20" fmla="*/ 8960 h 10000"/>
              <a:gd name="connsiteX21" fmla="*/ 1018 w 10006"/>
              <a:gd name="connsiteY21" fmla="*/ 9207 h 10000"/>
              <a:gd name="connsiteX22" fmla="*/ 1050 w 10006"/>
              <a:gd name="connsiteY22" fmla="*/ 9452 h 10000"/>
              <a:gd name="connsiteX23" fmla="*/ 1077 w 10006"/>
              <a:gd name="connsiteY23" fmla="*/ 9727 h 10000"/>
              <a:gd name="connsiteX24" fmla="*/ 1104 w 10006"/>
              <a:gd name="connsiteY24" fmla="*/ 10000 h 10000"/>
              <a:gd name="connsiteX25" fmla="*/ 1104 w 10006"/>
              <a:gd name="connsiteY25" fmla="*/ 10000 h 10000"/>
              <a:gd name="connsiteX26" fmla="*/ 1116 w 10006"/>
              <a:gd name="connsiteY26" fmla="*/ 9877 h 10000"/>
              <a:gd name="connsiteX27" fmla="*/ 1134 w 10006"/>
              <a:gd name="connsiteY27" fmla="*/ 9727 h 10000"/>
              <a:gd name="connsiteX28" fmla="*/ 1160 w 10006"/>
              <a:gd name="connsiteY28" fmla="*/ 9534 h 10000"/>
              <a:gd name="connsiteX29" fmla="*/ 1193 w 10006"/>
              <a:gd name="connsiteY29" fmla="*/ 9302 h 10000"/>
              <a:gd name="connsiteX30" fmla="*/ 1234 w 10006"/>
              <a:gd name="connsiteY30" fmla="*/ 9056 h 10000"/>
              <a:gd name="connsiteX31" fmla="*/ 1285 w 10006"/>
              <a:gd name="connsiteY31" fmla="*/ 8768 h 10000"/>
              <a:gd name="connsiteX32" fmla="*/ 1341 w 10006"/>
              <a:gd name="connsiteY32" fmla="*/ 8480 h 10000"/>
              <a:gd name="connsiteX33" fmla="*/ 1407 w 10006"/>
              <a:gd name="connsiteY33" fmla="*/ 8193 h 10000"/>
              <a:gd name="connsiteX34" fmla="*/ 1445 w 10006"/>
              <a:gd name="connsiteY34" fmla="*/ 8043 h 10000"/>
              <a:gd name="connsiteX35" fmla="*/ 1484 w 10006"/>
              <a:gd name="connsiteY35" fmla="*/ 7906 h 10000"/>
              <a:gd name="connsiteX36" fmla="*/ 1522 w 10006"/>
              <a:gd name="connsiteY36" fmla="*/ 7769 h 10000"/>
              <a:gd name="connsiteX37" fmla="*/ 1567 w 10006"/>
              <a:gd name="connsiteY37" fmla="*/ 7632 h 10000"/>
              <a:gd name="connsiteX38" fmla="*/ 1611 w 10006"/>
              <a:gd name="connsiteY38" fmla="*/ 7495 h 10000"/>
              <a:gd name="connsiteX39" fmla="*/ 1662 w 10006"/>
              <a:gd name="connsiteY39" fmla="*/ 7372 h 10000"/>
              <a:gd name="connsiteX40" fmla="*/ 1710 w 10006"/>
              <a:gd name="connsiteY40" fmla="*/ 7249 h 10000"/>
              <a:gd name="connsiteX41" fmla="*/ 1764 w 10006"/>
              <a:gd name="connsiteY41" fmla="*/ 7139 h 10000"/>
              <a:gd name="connsiteX42" fmla="*/ 1820 w 10006"/>
              <a:gd name="connsiteY42" fmla="*/ 7043 h 10000"/>
              <a:gd name="connsiteX43" fmla="*/ 1876 w 10006"/>
              <a:gd name="connsiteY43" fmla="*/ 6948 h 10000"/>
              <a:gd name="connsiteX44" fmla="*/ 1936 w 10006"/>
              <a:gd name="connsiteY44" fmla="*/ 6880 h 10000"/>
              <a:gd name="connsiteX45" fmla="*/ 2001 w 10006"/>
              <a:gd name="connsiteY45" fmla="*/ 6811 h 10000"/>
              <a:gd name="connsiteX46" fmla="*/ 2066 w 10006"/>
              <a:gd name="connsiteY46" fmla="*/ 6756 h 10000"/>
              <a:gd name="connsiteX47" fmla="*/ 2132 w 10006"/>
              <a:gd name="connsiteY47" fmla="*/ 6715 h 10000"/>
              <a:gd name="connsiteX48" fmla="*/ 9018 w 10006"/>
              <a:gd name="connsiteY48" fmla="*/ 6715 h 10000"/>
              <a:gd name="connsiteX49" fmla="*/ 9018 w 10006"/>
              <a:gd name="connsiteY49" fmla="*/ 6715 h 10000"/>
              <a:gd name="connsiteX50" fmla="*/ 9045 w 10006"/>
              <a:gd name="connsiteY50" fmla="*/ 6715 h 10000"/>
              <a:gd name="connsiteX51" fmla="*/ 9077 w 10006"/>
              <a:gd name="connsiteY51" fmla="*/ 6715 h 10000"/>
              <a:gd name="connsiteX52" fmla="*/ 9116 w 10006"/>
              <a:gd name="connsiteY52" fmla="*/ 6701 h 10000"/>
              <a:gd name="connsiteX53" fmla="*/ 9169 w 10006"/>
              <a:gd name="connsiteY53" fmla="*/ 6674 h 10000"/>
              <a:gd name="connsiteX54" fmla="*/ 9226 w 10006"/>
              <a:gd name="connsiteY54" fmla="*/ 6619 h 10000"/>
              <a:gd name="connsiteX55" fmla="*/ 9291 w 10006"/>
              <a:gd name="connsiteY55" fmla="*/ 6551 h 10000"/>
              <a:gd name="connsiteX56" fmla="*/ 9362 w 10006"/>
              <a:gd name="connsiteY56" fmla="*/ 6442 h 10000"/>
              <a:gd name="connsiteX57" fmla="*/ 9439 w 10006"/>
              <a:gd name="connsiteY57" fmla="*/ 6291 h 10000"/>
              <a:gd name="connsiteX58" fmla="*/ 9478 w 10006"/>
              <a:gd name="connsiteY58" fmla="*/ 6195 h 10000"/>
              <a:gd name="connsiteX59" fmla="*/ 9516 w 10006"/>
              <a:gd name="connsiteY59" fmla="*/ 6099 h 10000"/>
              <a:gd name="connsiteX60" fmla="*/ 9558 w 10006"/>
              <a:gd name="connsiteY60" fmla="*/ 5990 h 10000"/>
              <a:gd name="connsiteX61" fmla="*/ 9599 w 10006"/>
              <a:gd name="connsiteY61" fmla="*/ 5866 h 10000"/>
              <a:gd name="connsiteX62" fmla="*/ 9641 w 10006"/>
              <a:gd name="connsiteY62" fmla="*/ 5730 h 10000"/>
              <a:gd name="connsiteX63" fmla="*/ 9683 w 10006"/>
              <a:gd name="connsiteY63" fmla="*/ 5579 h 10000"/>
              <a:gd name="connsiteX64" fmla="*/ 9724 w 10006"/>
              <a:gd name="connsiteY64" fmla="*/ 5415 h 10000"/>
              <a:gd name="connsiteX65" fmla="*/ 9763 w 10006"/>
              <a:gd name="connsiteY65" fmla="*/ 5237 h 10000"/>
              <a:gd name="connsiteX66" fmla="*/ 9804 w 10006"/>
              <a:gd name="connsiteY66" fmla="*/ 5031 h 10000"/>
              <a:gd name="connsiteX67" fmla="*/ 9846 w 10006"/>
              <a:gd name="connsiteY67" fmla="*/ 4826 h 10000"/>
              <a:gd name="connsiteX68" fmla="*/ 9884 w 10006"/>
              <a:gd name="connsiteY68" fmla="*/ 4593 h 10000"/>
              <a:gd name="connsiteX69" fmla="*/ 9923 w 10006"/>
              <a:gd name="connsiteY69" fmla="*/ 4348 h 10000"/>
              <a:gd name="connsiteX70" fmla="*/ 9961 w 10006"/>
              <a:gd name="connsiteY70" fmla="*/ 4087 h 10000"/>
              <a:gd name="connsiteX71" fmla="*/ 10000 w 10006"/>
              <a:gd name="connsiteY71" fmla="*/ 3800 h 10000"/>
              <a:gd name="connsiteX72" fmla="*/ 10006 w 10006"/>
              <a:gd name="connsiteY72" fmla="*/ 0 h 10000"/>
              <a:gd name="connsiteX73" fmla="*/ 0 w 10006"/>
              <a:gd name="connsiteY73" fmla="*/ 2055 h 10000"/>
              <a:gd name="connsiteX0" fmla="*/ 0 w 10002"/>
              <a:gd name="connsiteY0" fmla="*/ 0 h 7945"/>
              <a:gd name="connsiteX1" fmla="*/ 3 w 10002"/>
              <a:gd name="connsiteY1" fmla="*/ 4550 h 7945"/>
              <a:gd name="connsiteX2" fmla="*/ 3 w 10002"/>
              <a:gd name="connsiteY2" fmla="*/ 4550 h 7945"/>
              <a:gd name="connsiteX3" fmla="*/ 42 w 10002"/>
              <a:gd name="connsiteY3" fmla="*/ 4578 h 7945"/>
              <a:gd name="connsiteX4" fmla="*/ 83 w 10002"/>
              <a:gd name="connsiteY4" fmla="*/ 4606 h 7945"/>
              <a:gd name="connsiteX5" fmla="*/ 139 w 10002"/>
              <a:gd name="connsiteY5" fmla="*/ 4646 h 7945"/>
              <a:gd name="connsiteX6" fmla="*/ 208 w 10002"/>
              <a:gd name="connsiteY6" fmla="*/ 4715 h 7945"/>
              <a:gd name="connsiteX7" fmla="*/ 285 w 10002"/>
              <a:gd name="connsiteY7" fmla="*/ 4811 h 7945"/>
              <a:gd name="connsiteX8" fmla="*/ 371 w 10002"/>
              <a:gd name="connsiteY8" fmla="*/ 4934 h 7945"/>
              <a:gd name="connsiteX9" fmla="*/ 460 w 10002"/>
              <a:gd name="connsiteY9" fmla="*/ 5084 h 7945"/>
              <a:gd name="connsiteX10" fmla="*/ 555 w 10002"/>
              <a:gd name="connsiteY10" fmla="*/ 5276 h 7945"/>
              <a:gd name="connsiteX11" fmla="*/ 599 w 10002"/>
              <a:gd name="connsiteY11" fmla="*/ 5385 h 7945"/>
              <a:gd name="connsiteX12" fmla="*/ 647 w 10002"/>
              <a:gd name="connsiteY12" fmla="*/ 5509 h 7945"/>
              <a:gd name="connsiteX13" fmla="*/ 694 w 10002"/>
              <a:gd name="connsiteY13" fmla="*/ 5646 h 7945"/>
              <a:gd name="connsiteX14" fmla="*/ 739 w 10002"/>
              <a:gd name="connsiteY14" fmla="*/ 5783 h 7945"/>
              <a:gd name="connsiteX15" fmla="*/ 783 w 10002"/>
              <a:gd name="connsiteY15" fmla="*/ 5947 h 7945"/>
              <a:gd name="connsiteX16" fmla="*/ 828 w 10002"/>
              <a:gd name="connsiteY16" fmla="*/ 6110 h 7945"/>
              <a:gd name="connsiteX17" fmla="*/ 869 w 10002"/>
              <a:gd name="connsiteY17" fmla="*/ 6289 h 7945"/>
              <a:gd name="connsiteX18" fmla="*/ 911 w 10002"/>
              <a:gd name="connsiteY18" fmla="*/ 6481 h 7945"/>
              <a:gd name="connsiteX19" fmla="*/ 950 w 10002"/>
              <a:gd name="connsiteY19" fmla="*/ 6686 h 7945"/>
              <a:gd name="connsiteX20" fmla="*/ 985 w 10002"/>
              <a:gd name="connsiteY20" fmla="*/ 6905 h 7945"/>
              <a:gd name="connsiteX21" fmla="*/ 1018 w 10002"/>
              <a:gd name="connsiteY21" fmla="*/ 7152 h 7945"/>
              <a:gd name="connsiteX22" fmla="*/ 1050 w 10002"/>
              <a:gd name="connsiteY22" fmla="*/ 7397 h 7945"/>
              <a:gd name="connsiteX23" fmla="*/ 1077 w 10002"/>
              <a:gd name="connsiteY23" fmla="*/ 7672 h 7945"/>
              <a:gd name="connsiteX24" fmla="*/ 1104 w 10002"/>
              <a:gd name="connsiteY24" fmla="*/ 7945 h 7945"/>
              <a:gd name="connsiteX25" fmla="*/ 1104 w 10002"/>
              <a:gd name="connsiteY25" fmla="*/ 7945 h 7945"/>
              <a:gd name="connsiteX26" fmla="*/ 1116 w 10002"/>
              <a:gd name="connsiteY26" fmla="*/ 7822 h 7945"/>
              <a:gd name="connsiteX27" fmla="*/ 1134 w 10002"/>
              <a:gd name="connsiteY27" fmla="*/ 7672 h 7945"/>
              <a:gd name="connsiteX28" fmla="*/ 1160 w 10002"/>
              <a:gd name="connsiteY28" fmla="*/ 7479 h 7945"/>
              <a:gd name="connsiteX29" fmla="*/ 1193 w 10002"/>
              <a:gd name="connsiteY29" fmla="*/ 7247 h 7945"/>
              <a:gd name="connsiteX30" fmla="*/ 1234 w 10002"/>
              <a:gd name="connsiteY30" fmla="*/ 7001 h 7945"/>
              <a:gd name="connsiteX31" fmla="*/ 1285 w 10002"/>
              <a:gd name="connsiteY31" fmla="*/ 6713 h 7945"/>
              <a:gd name="connsiteX32" fmla="*/ 1341 w 10002"/>
              <a:gd name="connsiteY32" fmla="*/ 6425 h 7945"/>
              <a:gd name="connsiteX33" fmla="*/ 1407 w 10002"/>
              <a:gd name="connsiteY33" fmla="*/ 6138 h 7945"/>
              <a:gd name="connsiteX34" fmla="*/ 1445 w 10002"/>
              <a:gd name="connsiteY34" fmla="*/ 5988 h 7945"/>
              <a:gd name="connsiteX35" fmla="*/ 1484 w 10002"/>
              <a:gd name="connsiteY35" fmla="*/ 5851 h 7945"/>
              <a:gd name="connsiteX36" fmla="*/ 1522 w 10002"/>
              <a:gd name="connsiteY36" fmla="*/ 5714 h 7945"/>
              <a:gd name="connsiteX37" fmla="*/ 1567 w 10002"/>
              <a:gd name="connsiteY37" fmla="*/ 5577 h 7945"/>
              <a:gd name="connsiteX38" fmla="*/ 1611 w 10002"/>
              <a:gd name="connsiteY38" fmla="*/ 5440 h 7945"/>
              <a:gd name="connsiteX39" fmla="*/ 1662 w 10002"/>
              <a:gd name="connsiteY39" fmla="*/ 5317 h 7945"/>
              <a:gd name="connsiteX40" fmla="*/ 1710 w 10002"/>
              <a:gd name="connsiteY40" fmla="*/ 5194 h 7945"/>
              <a:gd name="connsiteX41" fmla="*/ 1764 w 10002"/>
              <a:gd name="connsiteY41" fmla="*/ 5084 h 7945"/>
              <a:gd name="connsiteX42" fmla="*/ 1820 w 10002"/>
              <a:gd name="connsiteY42" fmla="*/ 4988 h 7945"/>
              <a:gd name="connsiteX43" fmla="*/ 1876 w 10002"/>
              <a:gd name="connsiteY43" fmla="*/ 4893 h 7945"/>
              <a:gd name="connsiteX44" fmla="*/ 1936 w 10002"/>
              <a:gd name="connsiteY44" fmla="*/ 4825 h 7945"/>
              <a:gd name="connsiteX45" fmla="*/ 2001 w 10002"/>
              <a:gd name="connsiteY45" fmla="*/ 4756 h 7945"/>
              <a:gd name="connsiteX46" fmla="*/ 2066 w 10002"/>
              <a:gd name="connsiteY46" fmla="*/ 4701 h 7945"/>
              <a:gd name="connsiteX47" fmla="*/ 2132 w 10002"/>
              <a:gd name="connsiteY47" fmla="*/ 4660 h 7945"/>
              <a:gd name="connsiteX48" fmla="*/ 9018 w 10002"/>
              <a:gd name="connsiteY48" fmla="*/ 4660 h 7945"/>
              <a:gd name="connsiteX49" fmla="*/ 9018 w 10002"/>
              <a:gd name="connsiteY49" fmla="*/ 4660 h 7945"/>
              <a:gd name="connsiteX50" fmla="*/ 9045 w 10002"/>
              <a:gd name="connsiteY50" fmla="*/ 4660 h 7945"/>
              <a:gd name="connsiteX51" fmla="*/ 9077 w 10002"/>
              <a:gd name="connsiteY51" fmla="*/ 4660 h 7945"/>
              <a:gd name="connsiteX52" fmla="*/ 9116 w 10002"/>
              <a:gd name="connsiteY52" fmla="*/ 4646 h 7945"/>
              <a:gd name="connsiteX53" fmla="*/ 9169 w 10002"/>
              <a:gd name="connsiteY53" fmla="*/ 4619 h 7945"/>
              <a:gd name="connsiteX54" fmla="*/ 9226 w 10002"/>
              <a:gd name="connsiteY54" fmla="*/ 4564 h 7945"/>
              <a:gd name="connsiteX55" fmla="*/ 9291 w 10002"/>
              <a:gd name="connsiteY55" fmla="*/ 4496 h 7945"/>
              <a:gd name="connsiteX56" fmla="*/ 9362 w 10002"/>
              <a:gd name="connsiteY56" fmla="*/ 4387 h 7945"/>
              <a:gd name="connsiteX57" fmla="*/ 9439 w 10002"/>
              <a:gd name="connsiteY57" fmla="*/ 4236 h 7945"/>
              <a:gd name="connsiteX58" fmla="*/ 9478 w 10002"/>
              <a:gd name="connsiteY58" fmla="*/ 4140 h 7945"/>
              <a:gd name="connsiteX59" fmla="*/ 9516 w 10002"/>
              <a:gd name="connsiteY59" fmla="*/ 4044 h 7945"/>
              <a:gd name="connsiteX60" fmla="*/ 9558 w 10002"/>
              <a:gd name="connsiteY60" fmla="*/ 3935 h 7945"/>
              <a:gd name="connsiteX61" fmla="*/ 9599 w 10002"/>
              <a:gd name="connsiteY61" fmla="*/ 3811 h 7945"/>
              <a:gd name="connsiteX62" fmla="*/ 9641 w 10002"/>
              <a:gd name="connsiteY62" fmla="*/ 3675 h 7945"/>
              <a:gd name="connsiteX63" fmla="*/ 9683 w 10002"/>
              <a:gd name="connsiteY63" fmla="*/ 3524 h 7945"/>
              <a:gd name="connsiteX64" fmla="*/ 9724 w 10002"/>
              <a:gd name="connsiteY64" fmla="*/ 3360 h 7945"/>
              <a:gd name="connsiteX65" fmla="*/ 9763 w 10002"/>
              <a:gd name="connsiteY65" fmla="*/ 3182 h 7945"/>
              <a:gd name="connsiteX66" fmla="*/ 9804 w 10002"/>
              <a:gd name="connsiteY66" fmla="*/ 2976 h 7945"/>
              <a:gd name="connsiteX67" fmla="*/ 9846 w 10002"/>
              <a:gd name="connsiteY67" fmla="*/ 2771 h 7945"/>
              <a:gd name="connsiteX68" fmla="*/ 9884 w 10002"/>
              <a:gd name="connsiteY68" fmla="*/ 2538 h 7945"/>
              <a:gd name="connsiteX69" fmla="*/ 9923 w 10002"/>
              <a:gd name="connsiteY69" fmla="*/ 2293 h 7945"/>
              <a:gd name="connsiteX70" fmla="*/ 9961 w 10002"/>
              <a:gd name="connsiteY70" fmla="*/ 2032 h 7945"/>
              <a:gd name="connsiteX71" fmla="*/ 10000 w 10002"/>
              <a:gd name="connsiteY71" fmla="*/ 1745 h 7945"/>
              <a:gd name="connsiteX72" fmla="*/ 9674 w 10002"/>
              <a:gd name="connsiteY72" fmla="*/ 0 h 7945"/>
              <a:gd name="connsiteX73" fmla="*/ 0 w 10002"/>
              <a:gd name="connsiteY73" fmla="*/ 0 h 7945"/>
              <a:gd name="connsiteX0" fmla="*/ 0 w 10004"/>
              <a:gd name="connsiteY0" fmla="*/ 0 h 10000"/>
              <a:gd name="connsiteX1" fmla="*/ 3 w 10004"/>
              <a:gd name="connsiteY1" fmla="*/ 5727 h 10000"/>
              <a:gd name="connsiteX2" fmla="*/ 3 w 10004"/>
              <a:gd name="connsiteY2" fmla="*/ 5727 h 10000"/>
              <a:gd name="connsiteX3" fmla="*/ 42 w 10004"/>
              <a:gd name="connsiteY3" fmla="*/ 5762 h 10000"/>
              <a:gd name="connsiteX4" fmla="*/ 83 w 10004"/>
              <a:gd name="connsiteY4" fmla="*/ 5797 h 10000"/>
              <a:gd name="connsiteX5" fmla="*/ 139 w 10004"/>
              <a:gd name="connsiteY5" fmla="*/ 5848 h 10000"/>
              <a:gd name="connsiteX6" fmla="*/ 208 w 10004"/>
              <a:gd name="connsiteY6" fmla="*/ 5935 h 10000"/>
              <a:gd name="connsiteX7" fmla="*/ 285 w 10004"/>
              <a:gd name="connsiteY7" fmla="*/ 6055 h 10000"/>
              <a:gd name="connsiteX8" fmla="*/ 371 w 10004"/>
              <a:gd name="connsiteY8" fmla="*/ 6210 h 10000"/>
              <a:gd name="connsiteX9" fmla="*/ 460 w 10004"/>
              <a:gd name="connsiteY9" fmla="*/ 6399 h 10000"/>
              <a:gd name="connsiteX10" fmla="*/ 555 w 10004"/>
              <a:gd name="connsiteY10" fmla="*/ 6641 h 10000"/>
              <a:gd name="connsiteX11" fmla="*/ 599 w 10004"/>
              <a:gd name="connsiteY11" fmla="*/ 6778 h 10000"/>
              <a:gd name="connsiteX12" fmla="*/ 647 w 10004"/>
              <a:gd name="connsiteY12" fmla="*/ 6934 h 10000"/>
              <a:gd name="connsiteX13" fmla="*/ 694 w 10004"/>
              <a:gd name="connsiteY13" fmla="*/ 7106 h 10000"/>
              <a:gd name="connsiteX14" fmla="*/ 739 w 10004"/>
              <a:gd name="connsiteY14" fmla="*/ 7279 h 10000"/>
              <a:gd name="connsiteX15" fmla="*/ 783 w 10004"/>
              <a:gd name="connsiteY15" fmla="*/ 7485 h 10000"/>
              <a:gd name="connsiteX16" fmla="*/ 828 w 10004"/>
              <a:gd name="connsiteY16" fmla="*/ 7690 h 10000"/>
              <a:gd name="connsiteX17" fmla="*/ 869 w 10004"/>
              <a:gd name="connsiteY17" fmla="*/ 7916 h 10000"/>
              <a:gd name="connsiteX18" fmla="*/ 911 w 10004"/>
              <a:gd name="connsiteY18" fmla="*/ 8157 h 10000"/>
              <a:gd name="connsiteX19" fmla="*/ 950 w 10004"/>
              <a:gd name="connsiteY19" fmla="*/ 8415 h 10000"/>
              <a:gd name="connsiteX20" fmla="*/ 985 w 10004"/>
              <a:gd name="connsiteY20" fmla="*/ 8691 h 10000"/>
              <a:gd name="connsiteX21" fmla="*/ 1018 w 10004"/>
              <a:gd name="connsiteY21" fmla="*/ 9002 h 10000"/>
              <a:gd name="connsiteX22" fmla="*/ 1050 w 10004"/>
              <a:gd name="connsiteY22" fmla="*/ 9310 h 10000"/>
              <a:gd name="connsiteX23" fmla="*/ 1077 w 10004"/>
              <a:gd name="connsiteY23" fmla="*/ 9656 h 10000"/>
              <a:gd name="connsiteX24" fmla="*/ 1104 w 10004"/>
              <a:gd name="connsiteY24" fmla="*/ 10000 h 10000"/>
              <a:gd name="connsiteX25" fmla="*/ 1104 w 10004"/>
              <a:gd name="connsiteY25" fmla="*/ 10000 h 10000"/>
              <a:gd name="connsiteX26" fmla="*/ 1116 w 10004"/>
              <a:gd name="connsiteY26" fmla="*/ 9845 h 10000"/>
              <a:gd name="connsiteX27" fmla="*/ 1134 w 10004"/>
              <a:gd name="connsiteY27" fmla="*/ 9656 h 10000"/>
              <a:gd name="connsiteX28" fmla="*/ 1160 w 10004"/>
              <a:gd name="connsiteY28" fmla="*/ 9413 h 10000"/>
              <a:gd name="connsiteX29" fmla="*/ 1193 w 10004"/>
              <a:gd name="connsiteY29" fmla="*/ 9121 h 10000"/>
              <a:gd name="connsiteX30" fmla="*/ 1234 w 10004"/>
              <a:gd name="connsiteY30" fmla="*/ 8812 h 10000"/>
              <a:gd name="connsiteX31" fmla="*/ 1285 w 10004"/>
              <a:gd name="connsiteY31" fmla="*/ 8449 h 10000"/>
              <a:gd name="connsiteX32" fmla="*/ 1341 w 10004"/>
              <a:gd name="connsiteY32" fmla="*/ 8087 h 10000"/>
              <a:gd name="connsiteX33" fmla="*/ 1407 w 10004"/>
              <a:gd name="connsiteY33" fmla="*/ 7726 h 10000"/>
              <a:gd name="connsiteX34" fmla="*/ 1445 w 10004"/>
              <a:gd name="connsiteY34" fmla="*/ 7537 h 10000"/>
              <a:gd name="connsiteX35" fmla="*/ 1484 w 10004"/>
              <a:gd name="connsiteY35" fmla="*/ 7364 h 10000"/>
              <a:gd name="connsiteX36" fmla="*/ 1522 w 10004"/>
              <a:gd name="connsiteY36" fmla="*/ 7192 h 10000"/>
              <a:gd name="connsiteX37" fmla="*/ 1567 w 10004"/>
              <a:gd name="connsiteY37" fmla="*/ 7020 h 10000"/>
              <a:gd name="connsiteX38" fmla="*/ 1611 w 10004"/>
              <a:gd name="connsiteY38" fmla="*/ 6847 h 10000"/>
              <a:gd name="connsiteX39" fmla="*/ 1662 w 10004"/>
              <a:gd name="connsiteY39" fmla="*/ 6692 h 10000"/>
              <a:gd name="connsiteX40" fmla="*/ 1710 w 10004"/>
              <a:gd name="connsiteY40" fmla="*/ 6537 h 10000"/>
              <a:gd name="connsiteX41" fmla="*/ 1764 w 10004"/>
              <a:gd name="connsiteY41" fmla="*/ 6399 h 10000"/>
              <a:gd name="connsiteX42" fmla="*/ 1820 w 10004"/>
              <a:gd name="connsiteY42" fmla="*/ 6278 h 10000"/>
              <a:gd name="connsiteX43" fmla="*/ 1876 w 10004"/>
              <a:gd name="connsiteY43" fmla="*/ 6159 h 10000"/>
              <a:gd name="connsiteX44" fmla="*/ 1936 w 10004"/>
              <a:gd name="connsiteY44" fmla="*/ 6073 h 10000"/>
              <a:gd name="connsiteX45" fmla="*/ 2001 w 10004"/>
              <a:gd name="connsiteY45" fmla="*/ 5986 h 10000"/>
              <a:gd name="connsiteX46" fmla="*/ 2066 w 10004"/>
              <a:gd name="connsiteY46" fmla="*/ 5917 h 10000"/>
              <a:gd name="connsiteX47" fmla="*/ 2132 w 10004"/>
              <a:gd name="connsiteY47" fmla="*/ 5865 h 10000"/>
              <a:gd name="connsiteX48" fmla="*/ 9016 w 10004"/>
              <a:gd name="connsiteY48" fmla="*/ 5865 h 10000"/>
              <a:gd name="connsiteX49" fmla="*/ 9016 w 10004"/>
              <a:gd name="connsiteY49" fmla="*/ 5865 h 10000"/>
              <a:gd name="connsiteX50" fmla="*/ 9043 w 10004"/>
              <a:gd name="connsiteY50" fmla="*/ 5865 h 10000"/>
              <a:gd name="connsiteX51" fmla="*/ 9075 w 10004"/>
              <a:gd name="connsiteY51" fmla="*/ 5865 h 10000"/>
              <a:gd name="connsiteX52" fmla="*/ 9114 w 10004"/>
              <a:gd name="connsiteY52" fmla="*/ 5848 h 10000"/>
              <a:gd name="connsiteX53" fmla="*/ 9167 w 10004"/>
              <a:gd name="connsiteY53" fmla="*/ 5814 h 10000"/>
              <a:gd name="connsiteX54" fmla="*/ 9224 w 10004"/>
              <a:gd name="connsiteY54" fmla="*/ 5744 h 10000"/>
              <a:gd name="connsiteX55" fmla="*/ 9289 w 10004"/>
              <a:gd name="connsiteY55" fmla="*/ 5659 h 10000"/>
              <a:gd name="connsiteX56" fmla="*/ 9360 w 10004"/>
              <a:gd name="connsiteY56" fmla="*/ 5522 h 10000"/>
              <a:gd name="connsiteX57" fmla="*/ 9437 w 10004"/>
              <a:gd name="connsiteY57" fmla="*/ 5332 h 10000"/>
              <a:gd name="connsiteX58" fmla="*/ 9476 w 10004"/>
              <a:gd name="connsiteY58" fmla="*/ 5211 h 10000"/>
              <a:gd name="connsiteX59" fmla="*/ 9514 w 10004"/>
              <a:gd name="connsiteY59" fmla="*/ 5090 h 10000"/>
              <a:gd name="connsiteX60" fmla="*/ 9556 w 10004"/>
              <a:gd name="connsiteY60" fmla="*/ 4953 h 10000"/>
              <a:gd name="connsiteX61" fmla="*/ 9597 w 10004"/>
              <a:gd name="connsiteY61" fmla="*/ 4797 h 10000"/>
              <a:gd name="connsiteX62" fmla="*/ 9639 w 10004"/>
              <a:gd name="connsiteY62" fmla="*/ 4626 h 10000"/>
              <a:gd name="connsiteX63" fmla="*/ 9681 w 10004"/>
              <a:gd name="connsiteY63" fmla="*/ 4435 h 10000"/>
              <a:gd name="connsiteX64" fmla="*/ 9722 w 10004"/>
              <a:gd name="connsiteY64" fmla="*/ 4229 h 10000"/>
              <a:gd name="connsiteX65" fmla="*/ 9761 w 10004"/>
              <a:gd name="connsiteY65" fmla="*/ 4005 h 10000"/>
              <a:gd name="connsiteX66" fmla="*/ 9802 w 10004"/>
              <a:gd name="connsiteY66" fmla="*/ 3746 h 10000"/>
              <a:gd name="connsiteX67" fmla="*/ 9844 w 10004"/>
              <a:gd name="connsiteY67" fmla="*/ 3488 h 10000"/>
              <a:gd name="connsiteX68" fmla="*/ 9882 w 10004"/>
              <a:gd name="connsiteY68" fmla="*/ 3194 h 10000"/>
              <a:gd name="connsiteX69" fmla="*/ 9921 w 10004"/>
              <a:gd name="connsiteY69" fmla="*/ 2886 h 10000"/>
              <a:gd name="connsiteX70" fmla="*/ 9959 w 10004"/>
              <a:gd name="connsiteY70" fmla="*/ 2558 h 10000"/>
              <a:gd name="connsiteX71" fmla="*/ 9998 w 10004"/>
              <a:gd name="connsiteY71" fmla="*/ 2196 h 10000"/>
              <a:gd name="connsiteX72" fmla="*/ 10004 w 10004"/>
              <a:gd name="connsiteY72" fmla="*/ 0 h 10000"/>
              <a:gd name="connsiteX73" fmla="*/ 0 w 10004"/>
              <a:gd name="connsiteY73" fmla="*/ 0 h 10000"/>
              <a:gd name="connsiteX0" fmla="*/ 0 w 10004"/>
              <a:gd name="connsiteY0" fmla="*/ 0 h 10000"/>
              <a:gd name="connsiteX1" fmla="*/ 3 w 10004"/>
              <a:gd name="connsiteY1" fmla="*/ 5727 h 10000"/>
              <a:gd name="connsiteX2" fmla="*/ 3 w 10004"/>
              <a:gd name="connsiteY2" fmla="*/ 5727 h 10000"/>
              <a:gd name="connsiteX3" fmla="*/ 42 w 10004"/>
              <a:gd name="connsiteY3" fmla="*/ 5762 h 10000"/>
              <a:gd name="connsiteX4" fmla="*/ 83 w 10004"/>
              <a:gd name="connsiteY4" fmla="*/ 5797 h 10000"/>
              <a:gd name="connsiteX5" fmla="*/ 139 w 10004"/>
              <a:gd name="connsiteY5" fmla="*/ 5848 h 10000"/>
              <a:gd name="connsiteX6" fmla="*/ 208 w 10004"/>
              <a:gd name="connsiteY6" fmla="*/ 5935 h 10000"/>
              <a:gd name="connsiteX7" fmla="*/ 285 w 10004"/>
              <a:gd name="connsiteY7" fmla="*/ 6055 h 10000"/>
              <a:gd name="connsiteX8" fmla="*/ 371 w 10004"/>
              <a:gd name="connsiteY8" fmla="*/ 6210 h 10000"/>
              <a:gd name="connsiteX9" fmla="*/ 460 w 10004"/>
              <a:gd name="connsiteY9" fmla="*/ 6399 h 10000"/>
              <a:gd name="connsiteX10" fmla="*/ 555 w 10004"/>
              <a:gd name="connsiteY10" fmla="*/ 6641 h 10000"/>
              <a:gd name="connsiteX11" fmla="*/ 599 w 10004"/>
              <a:gd name="connsiteY11" fmla="*/ 6778 h 10000"/>
              <a:gd name="connsiteX12" fmla="*/ 647 w 10004"/>
              <a:gd name="connsiteY12" fmla="*/ 6934 h 10000"/>
              <a:gd name="connsiteX13" fmla="*/ 694 w 10004"/>
              <a:gd name="connsiteY13" fmla="*/ 7106 h 10000"/>
              <a:gd name="connsiteX14" fmla="*/ 739 w 10004"/>
              <a:gd name="connsiteY14" fmla="*/ 7279 h 10000"/>
              <a:gd name="connsiteX15" fmla="*/ 783 w 10004"/>
              <a:gd name="connsiteY15" fmla="*/ 7485 h 10000"/>
              <a:gd name="connsiteX16" fmla="*/ 828 w 10004"/>
              <a:gd name="connsiteY16" fmla="*/ 7690 h 10000"/>
              <a:gd name="connsiteX17" fmla="*/ 869 w 10004"/>
              <a:gd name="connsiteY17" fmla="*/ 7916 h 10000"/>
              <a:gd name="connsiteX18" fmla="*/ 911 w 10004"/>
              <a:gd name="connsiteY18" fmla="*/ 8157 h 10000"/>
              <a:gd name="connsiteX19" fmla="*/ 950 w 10004"/>
              <a:gd name="connsiteY19" fmla="*/ 8415 h 10000"/>
              <a:gd name="connsiteX20" fmla="*/ 985 w 10004"/>
              <a:gd name="connsiteY20" fmla="*/ 8691 h 10000"/>
              <a:gd name="connsiteX21" fmla="*/ 1018 w 10004"/>
              <a:gd name="connsiteY21" fmla="*/ 9002 h 10000"/>
              <a:gd name="connsiteX22" fmla="*/ 1050 w 10004"/>
              <a:gd name="connsiteY22" fmla="*/ 9310 h 10000"/>
              <a:gd name="connsiteX23" fmla="*/ 1077 w 10004"/>
              <a:gd name="connsiteY23" fmla="*/ 9656 h 10000"/>
              <a:gd name="connsiteX24" fmla="*/ 1104 w 10004"/>
              <a:gd name="connsiteY24" fmla="*/ 10000 h 10000"/>
              <a:gd name="connsiteX25" fmla="*/ 1104 w 10004"/>
              <a:gd name="connsiteY25" fmla="*/ 10000 h 10000"/>
              <a:gd name="connsiteX26" fmla="*/ 1116 w 10004"/>
              <a:gd name="connsiteY26" fmla="*/ 9845 h 10000"/>
              <a:gd name="connsiteX27" fmla="*/ 1134 w 10004"/>
              <a:gd name="connsiteY27" fmla="*/ 9656 h 10000"/>
              <a:gd name="connsiteX28" fmla="*/ 1160 w 10004"/>
              <a:gd name="connsiteY28" fmla="*/ 9413 h 10000"/>
              <a:gd name="connsiteX29" fmla="*/ 1193 w 10004"/>
              <a:gd name="connsiteY29" fmla="*/ 9121 h 10000"/>
              <a:gd name="connsiteX30" fmla="*/ 1234 w 10004"/>
              <a:gd name="connsiteY30" fmla="*/ 8812 h 10000"/>
              <a:gd name="connsiteX31" fmla="*/ 1285 w 10004"/>
              <a:gd name="connsiteY31" fmla="*/ 8449 h 10000"/>
              <a:gd name="connsiteX32" fmla="*/ 1341 w 10004"/>
              <a:gd name="connsiteY32" fmla="*/ 8087 h 10000"/>
              <a:gd name="connsiteX33" fmla="*/ 1407 w 10004"/>
              <a:gd name="connsiteY33" fmla="*/ 7726 h 10000"/>
              <a:gd name="connsiteX34" fmla="*/ 1445 w 10004"/>
              <a:gd name="connsiteY34" fmla="*/ 7537 h 10000"/>
              <a:gd name="connsiteX35" fmla="*/ 1484 w 10004"/>
              <a:gd name="connsiteY35" fmla="*/ 7364 h 10000"/>
              <a:gd name="connsiteX36" fmla="*/ 1522 w 10004"/>
              <a:gd name="connsiteY36" fmla="*/ 7192 h 10000"/>
              <a:gd name="connsiteX37" fmla="*/ 1567 w 10004"/>
              <a:gd name="connsiteY37" fmla="*/ 7020 h 10000"/>
              <a:gd name="connsiteX38" fmla="*/ 1611 w 10004"/>
              <a:gd name="connsiteY38" fmla="*/ 6847 h 10000"/>
              <a:gd name="connsiteX39" fmla="*/ 1662 w 10004"/>
              <a:gd name="connsiteY39" fmla="*/ 6692 h 10000"/>
              <a:gd name="connsiteX40" fmla="*/ 1710 w 10004"/>
              <a:gd name="connsiteY40" fmla="*/ 6537 h 10000"/>
              <a:gd name="connsiteX41" fmla="*/ 1764 w 10004"/>
              <a:gd name="connsiteY41" fmla="*/ 6399 h 10000"/>
              <a:gd name="connsiteX42" fmla="*/ 1820 w 10004"/>
              <a:gd name="connsiteY42" fmla="*/ 6278 h 10000"/>
              <a:gd name="connsiteX43" fmla="*/ 1876 w 10004"/>
              <a:gd name="connsiteY43" fmla="*/ 6159 h 10000"/>
              <a:gd name="connsiteX44" fmla="*/ 1936 w 10004"/>
              <a:gd name="connsiteY44" fmla="*/ 6073 h 10000"/>
              <a:gd name="connsiteX45" fmla="*/ 2001 w 10004"/>
              <a:gd name="connsiteY45" fmla="*/ 5986 h 10000"/>
              <a:gd name="connsiteX46" fmla="*/ 2066 w 10004"/>
              <a:gd name="connsiteY46" fmla="*/ 5917 h 10000"/>
              <a:gd name="connsiteX47" fmla="*/ 2132 w 10004"/>
              <a:gd name="connsiteY47" fmla="*/ 5865 h 10000"/>
              <a:gd name="connsiteX48" fmla="*/ 9016 w 10004"/>
              <a:gd name="connsiteY48" fmla="*/ 5865 h 10000"/>
              <a:gd name="connsiteX49" fmla="*/ 9016 w 10004"/>
              <a:gd name="connsiteY49" fmla="*/ 5865 h 10000"/>
              <a:gd name="connsiteX50" fmla="*/ 9043 w 10004"/>
              <a:gd name="connsiteY50" fmla="*/ 5865 h 10000"/>
              <a:gd name="connsiteX51" fmla="*/ 9075 w 10004"/>
              <a:gd name="connsiteY51" fmla="*/ 5865 h 10000"/>
              <a:gd name="connsiteX52" fmla="*/ 9114 w 10004"/>
              <a:gd name="connsiteY52" fmla="*/ 5848 h 10000"/>
              <a:gd name="connsiteX53" fmla="*/ 9167 w 10004"/>
              <a:gd name="connsiteY53" fmla="*/ 5814 h 10000"/>
              <a:gd name="connsiteX54" fmla="*/ 9224 w 10004"/>
              <a:gd name="connsiteY54" fmla="*/ 5744 h 10000"/>
              <a:gd name="connsiteX55" fmla="*/ 9289 w 10004"/>
              <a:gd name="connsiteY55" fmla="*/ 5659 h 10000"/>
              <a:gd name="connsiteX56" fmla="*/ 9360 w 10004"/>
              <a:gd name="connsiteY56" fmla="*/ 5522 h 10000"/>
              <a:gd name="connsiteX57" fmla="*/ 9437 w 10004"/>
              <a:gd name="connsiteY57" fmla="*/ 5332 h 10000"/>
              <a:gd name="connsiteX58" fmla="*/ 9476 w 10004"/>
              <a:gd name="connsiteY58" fmla="*/ 5211 h 10000"/>
              <a:gd name="connsiteX59" fmla="*/ 9514 w 10004"/>
              <a:gd name="connsiteY59" fmla="*/ 5090 h 10000"/>
              <a:gd name="connsiteX60" fmla="*/ 9556 w 10004"/>
              <a:gd name="connsiteY60" fmla="*/ 4953 h 10000"/>
              <a:gd name="connsiteX61" fmla="*/ 9597 w 10004"/>
              <a:gd name="connsiteY61" fmla="*/ 4797 h 10000"/>
              <a:gd name="connsiteX62" fmla="*/ 9639 w 10004"/>
              <a:gd name="connsiteY62" fmla="*/ 4626 h 10000"/>
              <a:gd name="connsiteX63" fmla="*/ 9681 w 10004"/>
              <a:gd name="connsiteY63" fmla="*/ 4435 h 10000"/>
              <a:gd name="connsiteX64" fmla="*/ 9722 w 10004"/>
              <a:gd name="connsiteY64" fmla="*/ 4229 h 10000"/>
              <a:gd name="connsiteX65" fmla="*/ 9761 w 10004"/>
              <a:gd name="connsiteY65" fmla="*/ 4005 h 10000"/>
              <a:gd name="connsiteX66" fmla="*/ 9802 w 10004"/>
              <a:gd name="connsiteY66" fmla="*/ 3746 h 10000"/>
              <a:gd name="connsiteX67" fmla="*/ 9844 w 10004"/>
              <a:gd name="connsiteY67" fmla="*/ 3488 h 10000"/>
              <a:gd name="connsiteX68" fmla="*/ 9882 w 10004"/>
              <a:gd name="connsiteY68" fmla="*/ 3194 h 10000"/>
              <a:gd name="connsiteX69" fmla="*/ 9921 w 10004"/>
              <a:gd name="connsiteY69" fmla="*/ 2886 h 10000"/>
              <a:gd name="connsiteX70" fmla="*/ 9959 w 10004"/>
              <a:gd name="connsiteY70" fmla="*/ 2558 h 10000"/>
              <a:gd name="connsiteX71" fmla="*/ 9998 w 10004"/>
              <a:gd name="connsiteY71" fmla="*/ 2196 h 10000"/>
              <a:gd name="connsiteX72" fmla="*/ 10004 w 10004"/>
              <a:gd name="connsiteY72" fmla="*/ 0 h 10000"/>
              <a:gd name="connsiteX73" fmla="*/ 0 w 10004"/>
              <a:gd name="connsiteY73" fmla="*/ 0 h 10000"/>
              <a:gd name="connsiteX0" fmla="*/ 0 w 10004"/>
              <a:gd name="connsiteY0" fmla="*/ 0 h 10000"/>
              <a:gd name="connsiteX1" fmla="*/ 3 w 10004"/>
              <a:gd name="connsiteY1" fmla="*/ 5727 h 10000"/>
              <a:gd name="connsiteX2" fmla="*/ 3 w 10004"/>
              <a:gd name="connsiteY2" fmla="*/ 5727 h 10000"/>
              <a:gd name="connsiteX3" fmla="*/ 42 w 10004"/>
              <a:gd name="connsiteY3" fmla="*/ 5762 h 10000"/>
              <a:gd name="connsiteX4" fmla="*/ 83 w 10004"/>
              <a:gd name="connsiteY4" fmla="*/ 5797 h 10000"/>
              <a:gd name="connsiteX5" fmla="*/ 139 w 10004"/>
              <a:gd name="connsiteY5" fmla="*/ 5848 h 10000"/>
              <a:gd name="connsiteX6" fmla="*/ 208 w 10004"/>
              <a:gd name="connsiteY6" fmla="*/ 5935 h 10000"/>
              <a:gd name="connsiteX7" fmla="*/ 285 w 10004"/>
              <a:gd name="connsiteY7" fmla="*/ 6055 h 10000"/>
              <a:gd name="connsiteX8" fmla="*/ 371 w 10004"/>
              <a:gd name="connsiteY8" fmla="*/ 6210 h 10000"/>
              <a:gd name="connsiteX9" fmla="*/ 460 w 10004"/>
              <a:gd name="connsiteY9" fmla="*/ 6399 h 10000"/>
              <a:gd name="connsiteX10" fmla="*/ 555 w 10004"/>
              <a:gd name="connsiteY10" fmla="*/ 6641 h 10000"/>
              <a:gd name="connsiteX11" fmla="*/ 599 w 10004"/>
              <a:gd name="connsiteY11" fmla="*/ 6778 h 10000"/>
              <a:gd name="connsiteX12" fmla="*/ 647 w 10004"/>
              <a:gd name="connsiteY12" fmla="*/ 6934 h 10000"/>
              <a:gd name="connsiteX13" fmla="*/ 694 w 10004"/>
              <a:gd name="connsiteY13" fmla="*/ 7106 h 10000"/>
              <a:gd name="connsiteX14" fmla="*/ 739 w 10004"/>
              <a:gd name="connsiteY14" fmla="*/ 7279 h 10000"/>
              <a:gd name="connsiteX15" fmla="*/ 783 w 10004"/>
              <a:gd name="connsiteY15" fmla="*/ 7485 h 10000"/>
              <a:gd name="connsiteX16" fmla="*/ 828 w 10004"/>
              <a:gd name="connsiteY16" fmla="*/ 7690 h 10000"/>
              <a:gd name="connsiteX17" fmla="*/ 869 w 10004"/>
              <a:gd name="connsiteY17" fmla="*/ 7916 h 10000"/>
              <a:gd name="connsiteX18" fmla="*/ 911 w 10004"/>
              <a:gd name="connsiteY18" fmla="*/ 8157 h 10000"/>
              <a:gd name="connsiteX19" fmla="*/ 950 w 10004"/>
              <a:gd name="connsiteY19" fmla="*/ 8415 h 10000"/>
              <a:gd name="connsiteX20" fmla="*/ 985 w 10004"/>
              <a:gd name="connsiteY20" fmla="*/ 8691 h 10000"/>
              <a:gd name="connsiteX21" fmla="*/ 1018 w 10004"/>
              <a:gd name="connsiteY21" fmla="*/ 9002 h 10000"/>
              <a:gd name="connsiteX22" fmla="*/ 1050 w 10004"/>
              <a:gd name="connsiteY22" fmla="*/ 9310 h 10000"/>
              <a:gd name="connsiteX23" fmla="*/ 1077 w 10004"/>
              <a:gd name="connsiteY23" fmla="*/ 9656 h 10000"/>
              <a:gd name="connsiteX24" fmla="*/ 1104 w 10004"/>
              <a:gd name="connsiteY24" fmla="*/ 10000 h 10000"/>
              <a:gd name="connsiteX25" fmla="*/ 1104 w 10004"/>
              <a:gd name="connsiteY25" fmla="*/ 10000 h 10000"/>
              <a:gd name="connsiteX26" fmla="*/ 1116 w 10004"/>
              <a:gd name="connsiteY26" fmla="*/ 9845 h 10000"/>
              <a:gd name="connsiteX27" fmla="*/ 1134 w 10004"/>
              <a:gd name="connsiteY27" fmla="*/ 9656 h 10000"/>
              <a:gd name="connsiteX28" fmla="*/ 1160 w 10004"/>
              <a:gd name="connsiteY28" fmla="*/ 9413 h 10000"/>
              <a:gd name="connsiteX29" fmla="*/ 1193 w 10004"/>
              <a:gd name="connsiteY29" fmla="*/ 9121 h 10000"/>
              <a:gd name="connsiteX30" fmla="*/ 1234 w 10004"/>
              <a:gd name="connsiteY30" fmla="*/ 8812 h 10000"/>
              <a:gd name="connsiteX31" fmla="*/ 1285 w 10004"/>
              <a:gd name="connsiteY31" fmla="*/ 8449 h 10000"/>
              <a:gd name="connsiteX32" fmla="*/ 1341 w 10004"/>
              <a:gd name="connsiteY32" fmla="*/ 8087 h 10000"/>
              <a:gd name="connsiteX33" fmla="*/ 1407 w 10004"/>
              <a:gd name="connsiteY33" fmla="*/ 7726 h 10000"/>
              <a:gd name="connsiteX34" fmla="*/ 1445 w 10004"/>
              <a:gd name="connsiteY34" fmla="*/ 7537 h 10000"/>
              <a:gd name="connsiteX35" fmla="*/ 1484 w 10004"/>
              <a:gd name="connsiteY35" fmla="*/ 7364 h 10000"/>
              <a:gd name="connsiteX36" fmla="*/ 1522 w 10004"/>
              <a:gd name="connsiteY36" fmla="*/ 7192 h 10000"/>
              <a:gd name="connsiteX37" fmla="*/ 1567 w 10004"/>
              <a:gd name="connsiteY37" fmla="*/ 7020 h 10000"/>
              <a:gd name="connsiteX38" fmla="*/ 1611 w 10004"/>
              <a:gd name="connsiteY38" fmla="*/ 6847 h 10000"/>
              <a:gd name="connsiteX39" fmla="*/ 1662 w 10004"/>
              <a:gd name="connsiteY39" fmla="*/ 6692 h 10000"/>
              <a:gd name="connsiteX40" fmla="*/ 1710 w 10004"/>
              <a:gd name="connsiteY40" fmla="*/ 6537 h 10000"/>
              <a:gd name="connsiteX41" fmla="*/ 1764 w 10004"/>
              <a:gd name="connsiteY41" fmla="*/ 6399 h 10000"/>
              <a:gd name="connsiteX42" fmla="*/ 1820 w 10004"/>
              <a:gd name="connsiteY42" fmla="*/ 6278 h 10000"/>
              <a:gd name="connsiteX43" fmla="*/ 1876 w 10004"/>
              <a:gd name="connsiteY43" fmla="*/ 6159 h 10000"/>
              <a:gd name="connsiteX44" fmla="*/ 1936 w 10004"/>
              <a:gd name="connsiteY44" fmla="*/ 6073 h 10000"/>
              <a:gd name="connsiteX45" fmla="*/ 2001 w 10004"/>
              <a:gd name="connsiteY45" fmla="*/ 5986 h 10000"/>
              <a:gd name="connsiteX46" fmla="*/ 2066 w 10004"/>
              <a:gd name="connsiteY46" fmla="*/ 5917 h 10000"/>
              <a:gd name="connsiteX47" fmla="*/ 2132 w 10004"/>
              <a:gd name="connsiteY47" fmla="*/ 5865 h 10000"/>
              <a:gd name="connsiteX48" fmla="*/ 9016 w 10004"/>
              <a:gd name="connsiteY48" fmla="*/ 5865 h 10000"/>
              <a:gd name="connsiteX49" fmla="*/ 9016 w 10004"/>
              <a:gd name="connsiteY49" fmla="*/ 5865 h 10000"/>
              <a:gd name="connsiteX50" fmla="*/ 9043 w 10004"/>
              <a:gd name="connsiteY50" fmla="*/ 5865 h 10000"/>
              <a:gd name="connsiteX51" fmla="*/ 9075 w 10004"/>
              <a:gd name="connsiteY51" fmla="*/ 5865 h 10000"/>
              <a:gd name="connsiteX52" fmla="*/ 9114 w 10004"/>
              <a:gd name="connsiteY52" fmla="*/ 5848 h 10000"/>
              <a:gd name="connsiteX53" fmla="*/ 9167 w 10004"/>
              <a:gd name="connsiteY53" fmla="*/ 5814 h 10000"/>
              <a:gd name="connsiteX54" fmla="*/ 9224 w 10004"/>
              <a:gd name="connsiteY54" fmla="*/ 5744 h 10000"/>
              <a:gd name="connsiteX55" fmla="*/ 9289 w 10004"/>
              <a:gd name="connsiteY55" fmla="*/ 5659 h 10000"/>
              <a:gd name="connsiteX56" fmla="*/ 9360 w 10004"/>
              <a:gd name="connsiteY56" fmla="*/ 5522 h 10000"/>
              <a:gd name="connsiteX57" fmla="*/ 9437 w 10004"/>
              <a:gd name="connsiteY57" fmla="*/ 5332 h 10000"/>
              <a:gd name="connsiteX58" fmla="*/ 9476 w 10004"/>
              <a:gd name="connsiteY58" fmla="*/ 5211 h 10000"/>
              <a:gd name="connsiteX59" fmla="*/ 9514 w 10004"/>
              <a:gd name="connsiteY59" fmla="*/ 5090 h 10000"/>
              <a:gd name="connsiteX60" fmla="*/ 9556 w 10004"/>
              <a:gd name="connsiteY60" fmla="*/ 4953 h 10000"/>
              <a:gd name="connsiteX61" fmla="*/ 9597 w 10004"/>
              <a:gd name="connsiteY61" fmla="*/ 4797 h 10000"/>
              <a:gd name="connsiteX62" fmla="*/ 9639 w 10004"/>
              <a:gd name="connsiteY62" fmla="*/ 4626 h 10000"/>
              <a:gd name="connsiteX63" fmla="*/ 9681 w 10004"/>
              <a:gd name="connsiteY63" fmla="*/ 4435 h 10000"/>
              <a:gd name="connsiteX64" fmla="*/ 9722 w 10004"/>
              <a:gd name="connsiteY64" fmla="*/ 4229 h 10000"/>
              <a:gd name="connsiteX65" fmla="*/ 9761 w 10004"/>
              <a:gd name="connsiteY65" fmla="*/ 4005 h 10000"/>
              <a:gd name="connsiteX66" fmla="*/ 9802 w 10004"/>
              <a:gd name="connsiteY66" fmla="*/ 3746 h 10000"/>
              <a:gd name="connsiteX67" fmla="*/ 9844 w 10004"/>
              <a:gd name="connsiteY67" fmla="*/ 3488 h 10000"/>
              <a:gd name="connsiteX68" fmla="*/ 9882 w 10004"/>
              <a:gd name="connsiteY68" fmla="*/ 3194 h 10000"/>
              <a:gd name="connsiteX69" fmla="*/ 9921 w 10004"/>
              <a:gd name="connsiteY69" fmla="*/ 2886 h 10000"/>
              <a:gd name="connsiteX70" fmla="*/ 9959 w 10004"/>
              <a:gd name="connsiteY70" fmla="*/ 2558 h 10000"/>
              <a:gd name="connsiteX71" fmla="*/ 9998 w 10004"/>
              <a:gd name="connsiteY71" fmla="*/ 2196 h 10000"/>
              <a:gd name="connsiteX72" fmla="*/ 10004 w 10004"/>
              <a:gd name="connsiteY72" fmla="*/ 1081 h 10000"/>
              <a:gd name="connsiteX73" fmla="*/ 0 w 10004"/>
              <a:gd name="connsiteY73" fmla="*/ 0 h 10000"/>
              <a:gd name="connsiteX0" fmla="*/ 0 w 10004"/>
              <a:gd name="connsiteY0" fmla="*/ 0 h 8919"/>
              <a:gd name="connsiteX1" fmla="*/ 3 w 10004"/>
              <a:gd name="connsiteY1" fmla="*/ 4646 h 8919"/>
              <a:gd name="connsiteX2" fmla="*/ 3 w 10004"/>
              <a:gd name="connsiteY2" fmla="*/ 4646 h 8919"/>
              <a:gd name="connsiteX3" fmla="*/ 42 w 10004"/>
              <a:gd name="connsiteY3" fmla="*/ 4681 h 8919"/>
              <a:gd name="connsiteX4" fmla="*/ 83 w 10004"/>
              <a:gd name="connsiteY4" fmla="*/ 4716 h 8919"/>
              <a:gd name="connsiteX5" fmla="*/ 139 w 10004"/>
              <a:gd name="connsiteY5" fmla="*/ 4767 h 8919"/>
              <a:gd name="connsiteX6" fmla="*/ 208 w 10004"/>
              <a:gd name="connsiteY6" fmla="*/ 4854 h 8919"/>
              <a:gd name="connsiteX7" fmla="*/ 285 w 10004"/>
              <a:gd name="connsiteY7" fmla="*/ 4974 h 8919"/>
              <a:gd name="connsiteX8" fmla="*/ 371 w 10004"/>
              <a:gd name="connsiteY8" fmla="*/ 5129 h 8919"/>
              <a:gd name="connsiteX9" fmla="*/ 460 w 10004"/>
              <a:gd name="connsiteY9" fmla="*/ 5318 h 8919"/>
              <a:gd name="connsiteX10" fmla="*/ 555 w 10004"/>
              <a:gd name="connsiteY10" fmla="*/ 5560 h 8919"/>
              <a:gd name="connsiteX11" fmla="*/ 599 w 10004"/>
              <a:gd name="connsiteY11" fmla="*/ 5697 h 8919"/>
              <a:gd name="connsiteX12" fmla="*/ 647 w 10004"/>
              <a:gd name="connsiteY12" fmla="*/ 5853 h 8919"/>
              <a:gd name="connsiteX13" fmla="*/ 694 w 10004"/>
              <a:gd name="connsiteY13" fmla="*/ 6025 h 8919"/>
              <a:gd name="connsiteX14" fmla="*/ 739 w 10004"/>
              <a:gd name="connsiteY14" fmla="*/ 6198 h 8919"/>
              <a:gd name="connsiteX15" fmla="*/ 783 w 10004"/>
              <a:gd name="connsiteY15" fmla="*/ 6404 h 8919"/>
              <a:gd name="connsiteX16" fmla="*/ 828 w 10004"/>
              <a:gd name="connsiteY16" fmla="*/ 6609 h 8919"/>
              <a:gd name="connsiteX17" fmla="*/ 869 w 10004"/>
              <a:gd name="connsiteY17" fmla="*/ 6835 h 8919"/>
              <a:gd name="connsiteX18" fmla="*/ 911 w 10004"/>
              <a:gd name="connsiteY18" fmla="*/ 7076 h 8919"/>
              <a:gd name="connsiteX19" fmla="*/ 950 w 10004"/>
              <a:gd name="connsiteY19" fmla="*/ 7334 h 8919"/>
              <a:gd name="connsiteX20" fmla="*/ 985 w 10004"/>
              <a:gd name="connsiteY20" fmla="*/ 7610 h 8919"/>
              <a:gd name="connsiteX21" fmla="*/ 1018 w 10004"/>
              <a:gd name="connsiteY21" fmla="*/ 7921 h 8919"/>
              <a:gd name="connsiteX22" fmla="*/ 1050 w 10004"/>
              <a:gd name="connsiteY22" fmla="*/ 8229 h 8919"/>
              <a:gd name="connsiteX23" fmla="*/ 1077 w 10004"/>
              <a:gd name="connsiteY23" fmla="*/ 8575 h 8919"/>
              <a:gd name="connsiteX24" fmla="*/ 1104 w 10004"/>
              <a:gd name="connsiteY24" fmla="*/ 8919 h 8919"/>
              <a:gd name="connsiteX25" fmla="*/ 1104 w 10004"/>
              <a:gd name="connsiteY25" fmla="*/ 8919 h 8919"/>
              <a:gd name="connsiteX26" fmla="*/ 1116 w 10004"/>
              <a:gd name="connsiteY26" fmla="*/ 8764 h 8919"/>
              <a:gd name="connsiteX27" fmla="*/ 1134 w 10004"/>
              <a:gd name="connsiteY27" fmla="*/ 8575 h 8919"/>
              <a:gd name="connsiteX28" fmla="*/ 1160 w 10004"/>
              <a:gd name="connsiteY28" fmla="*/ 8332 h 8919"/>
              <a:gd name="connsiteX29" fmla="*/ 1193 w 10004"/>
              <a:gd name="connsiteY29" fmla="*/ 8040 h 8919"/>
              <a:gd name="connsiteX30" fmla="*/ 1234 w 10004"/>
              <a:gd name="connsiteY30" fmla="*/ 7731 h 8919"/>
              <a:gd name="connsiteX31" fmla="*/ 1285 w 10004"/>
              <a:gd name="connsiteY31" fmla="*/ 7368 h 8919"/>
              <a:gd name="connsiteX32" fmla="*/ 1341 w 10004"/>
              <a:gd name="connsiteY32" fmla="*/ 7006 h 8919"/>
              <a:gd name="connsiteX33" fmla="*/ 1407 w 10004"/>
              <a:gd name="connsiteY33" fmla="*/ 6645 h 8919"/>
              <a:gd name="connsiteX34" fmla="*/ 1445 w 10004"/>
              <a:gd name="connsiteY34" fmla="*/ 6456 h 8919"/>
              <a:gd name="connsiteX35" fmla="*/ 1484 w 10004"/>
              <a:gd name="connsiteY35" fmla="*/ 6283 h 8919"/>
              <a:gd name="connsiteX36" fmla="*/ 1522 w 10004"/>
              <a:gd name="connsiteY36" fmla="*/ 6111 h 8919"/>
              <a:gd name="connsiteX37" fmla="*/ 1567 w 10004"/>
              <a:gd name="connsiteY37" fmla="*/ 5939 h 8919"/>
              <a:gd name="connsiteX38" fmla="*/ 1611 w 10004"/>
              <a:gd name="connsiteY38" fmla="*/ 5766 h 8919"/>
              <a:gd name="connsiteX39" fmla="*/ 1662 w 10004"/>
              <a:gd name="connsiteY39" fmla="*/ 5611 h 8919"/>
              <a:gd name="connsiteX40" fmla="*/ 1710 w 10004"/>
              <a:gd name="connsiteY40" fmla="*/ 5456 h 8919"/>
              <a:gd name="connsiteX41" fmla="*/ 1764 w 10004"/>
              <a:gd name="connsiteY41" fmla="*/ 5318 h 8919"/>
              <a:gd name="connsiteX42" fmla="*/ 1820 w 10004"/>
              <a:gd name="connsiteY42" fmla="*/ 5197 h 8919"/>
              <a:gd name="connsiteX43" fmla="*/ 1876 w 10004"/>
              <a:gd name="connsiteY43" fmla="*/ 5078 h 8919"/>
              <a:gd name="connsiteX44" fmla="*/ 1936 w 10004"/>
              <a:gd name="connsiteY44" fmla="*/ 4992 h 8919"/>
              <a:gd name="connsiteX45" fmla="*/ 2001 w 10004"/>
              <a:gd name="connsiteY45" fmla="*/ 4905 h 8919"/>
              <a:gd name="connsiteX46" fmla="*/ 2066 w 10004"/>
              <a:gd name="connsiteY46" fmla="*/ 4836 h 8919"/>
              <a:gd name="connsiteX47" fmla="*/ 2132 w 10004"/>
              <a:gd name="connsiteY47" fmla="*/ 4784 h 8919"/>
              <a:gd name="connsiteX48" fmla="*/ 9016 w 10004"/>
              <a:gd name="connsiteY48" fmla="*/ 4784 h 8919"/>
              <a:gd name="connsiteX49" fmla="*/ 9016 w 10004"/>
              <a:gd name="connsiteY49" fmla="*/ 4784 h 8919"/>
              <a:gd name="connsiteX50" fmla="*/ 9043 w 10004"/>
              <a:gd name="connsiteY50" fmla="*/ 4784 h 8919"/>
              <a:gd name="connsiteX51" fmla="*/ 9075 w 10004"/>
              <a:gd name="connsiteY51" fmla="*/ 4784 h 8919"/>
              <a:gd name="connsiteX52" fmla="*/ 9114 w 10004"/>
              <a:gd name="connsiteY52" fmla="*/ 4767 h 8919"/>
              <a:gd name="connsiteX53" fmla="*/ 9167 w 10004"/>
              <a:gd name="connsiteY53" fmla="*/ 4733 h 8919"/>
              <a:gd name="connsiteX54" fmla="*/ 9224 w 10004"/>
              <a:gd name="connsiteY54" fmla="*/ 4663 h 8919"/>
              <a:gd name="connsiteX55" fmla="*/ 9289 w 10004"/>
              <a:gd name="connsiteY55" fmla="*/ 4578 h 8919"/>
              <a:gd name="connsiteX56" fmla="*/ 9360 w 10004"/>
              <a:gd name="connsiteY56" fmla="*/ 4441 h 8919"/>
              <a:gd name="connsiteX57" fmla="*/ 9437 w 10004"/>
              <a:gd name="connsiteY57" fmla="*/ 4251 h 8919"/>
              <a:gd name="connsiteX58" fmla="*/ 9476 w 10004"/>
              <a:gd name="connsiteY58" fmla="*/ 4130 h 8919"/>
              <a:gd name="connsiteX59" fmla="*/ 9514 w 10004"/>
              <a:gd name="connsiteY59" fmla="*/ 4009 h 8919"/>
              <a:gd name="connsiteX60" fmla="*/ 9556 w 10004"/>
              <a:gd name="connsiteY60" fmla="*/ 3872 h 8919"/>
              <a:gd name="connsiteX61" fmla="*/ 9597 w 10004"/>
              <a:gd name="connsiteY61" fmla="*/ 3716 h 8919"/>
              <a:gd name="connsiteX62" fmla="*/ 9639 w 10004"/>
              <a:gd name="connsiteY62" fmla="*/ 3545 h 8919"/>
              <a:gd name="connsiteX63" fmla="*/ 9681 w 10004"/>
              <a:gd name="connsiteY63" fmla="*/ 3354 h 8919"/>
              <a:gd name="connsiteX64" fmla="*/ 9722 w 10004"/>
              <a:gd name="connsiteY64" fmla="*/ 3148 h 8919"/>
              <a:gd name="connsiteX65" fmla="*/ 9761 w 10004"/>
              <a:gd name="connsiteY65" fmla="*/ 2924 h 8919"/>
              <a:gd name="connsiteX66" fmla="*/ 9802 w 10004"/>
              <a:gd name="connsiteY66" fmla="*/ 2665 h 8919"/>
              <a:gd name="connsiteX67" fmla="*/ 9844 w 10004"/>
              <a:gd name="connsiteY67" fmla="*/ 2407 h 8919"/>
              <a:gd name="connsiteX68" fmla="*/ 9882 w 10004"/>
              <a:gd name="connsiteY68" fmla="*/ 2113 h 8919"/>
              <a:gd name="connsiteX69" fmla="*/ 9921 w 10004"/>
              <a:gd name="connsiteY69" fmla="*/ 1805 h 8919"/>
              <a:gd name="connsiteX70" fmla="*/ 9959 w 10004"/>
              <a:gd name="connsiteY70" fmla="*/ 1477 h 8919"/>
              <a:gd name="connsiteX71" fmla="*/ 9998 w 10004"/>
              <a:gd name="connsiteY71" fmla="*/ 1115 h 8919"/>
              <a:gd name="connsiteX72" fmla="*/ 10004 w 10004"/>
              <a:gd name="connsiteY72" fmla="*/ 0 h 8919"/>
              <a:gd name="connsiteX73" fmla="*/ 0 w 10004"/>
              <a:gd name="connsiteY73" fmla="*/ 0 h 8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4" h="8919">
                <a:moveTo>
                  <a:pt x="0" y="0"/>
                </a:moveTo>
                <a:cubicBezTo>
                  <a:pt x="1" y="1909"/>
                  <a:pt x="2" y="2736"/>
                  <a:pt x="3" y="4646"/>
                </a:cubicBezTo>
                <a:lnTo>
                  <a:pt x="3" y="4646"/>
                </a:lnTo>
                <a:cubicBezTo>
                  <a:pt x="16" y="4658"/>
                  <a:pt x="29" y="4669"/>
                  <a:pt x="42" y="4681"/>
                </a:cubicBezTo>
                <a:cubicBezTo>
                  <a:pt x="56" y="4692"/>
                  <a:pt x="69" y="4705"/>
                  <a:pt x="83" y="4716"/>
                </a:cubicBezTo>
                <a:cubicBezTo>
                  <a:pt x="102" y="4733"/>
                  <a:pt x="120" y="4750"/>
                  <a:pt x="139" y="4767"/>
                </a:cubicBezTo>
                <a:lnTo>
                  <a:pt x="208" y="4854"/>
                </a:lnTo>
                <a:cubicBezTo>
                  <a:pt x="234" y="4894"/>
                  <a:pt x="259" y="4934"/>
                  <a:pt x="285" y="4974"/>
                </a:cubicBezTo>
                <a:cubicBezTo>
                  <a:pt x="314" y="5026"/>
                  <a:pt x="342" y="5078"/>
                  <a:pt x="371" y="5129"/>
                </a:cubicBezTo>
                <a:cubicBezTo>
                  <a:pt x="401" y="5192"/>
                  <a:pt x="430" y="5255"/>
                  <a:pt x="460" y="5318"/>
                </a:cubicBezTo>
                <a:cubicBezTo>
                  <a:pt x="492" y="5399"/>
                  <a:pt x="523" y="5479"/>
                  <a:pt x="555" y="5560"/>
                </a:cubicBezTo>
                <a:cubicBezTo>
                  <a:pt x="570" y="5605"/>
                  <a:pt x="584" y="5652"/>
                  <a:pt x="599" y="5697"/>
                </a:cubicBezTo>
                <a:cubicBezTo>
                  <a:pt x="615" y="5750"/>
                  <a:pt x="631" y="5800"/>
                  <a:pt x="647" y="5853"/>
                </a:cubicBezTo>
                <a:cubicBezTo>
                  <a:pt x="663" y="5910"/>
                  <a:pt x="678" y="5967"/>
                  <a:pt x="694" y="6025"/>
                </a:cubicBezTo>
                <a:cubicBezTo>
                  <a:pt x="709" y="6083"/>
                  <a:pt x="724" y="6140"/>
                  <a:pt x="739" y="6198"/>
                </a:cubicBezTo>
                <a:cubicBezTo>
                  <a:pt x="754" y="6266"/>
                  <a:pt x="768" y="6335"/>
                  <a:pt x="783" y="6404"/>
                </a:cubicBezTo>
                <a:cubicBezTo>
                  <a:pt x="798" y="6472"/>
                  <a:pt x="813" y="6541"/>
                  <a:pt x="828" y="6609"/>
                </a:cubicBezTo>
                <a:cubicBezTo>
                  <a:pt x="842" y="6685"/>
                  <a:pt x="855" y="6760"/>
                  <a:pt x="869" y="6835"/>
                </a:cubicBezTo>
                <a:cubicBezTo>
                  <a:pt x="883" y="6915"/>
                  <a:pt x="897" y="6996"/>
                  <a:pt x="911" y="7076"/>
                </a:cubicBezTo>
                <a:cubicBezTo>
                  <a:pt x="924" y="7162"/>
                  <a:pt x="937" y="7249"/>
                  <a:pt x="950" y="7334"/>
                </a:cubicBezTo>
                <a:cubicBezTo>
                  <a:pt x="962" y="7426"/>
                  <a:pt x="973" y="7518"/>
                  <a:pt x="985" y="7610"/>
                </a:cubicBezTo>
                <a:cubicBezTo>
                  <a:pt x="996" y="7713"/>
                  <a:pt x="1007" y="7818"/>
                  <a:pt x="1018" y="7921"/>
                </a:cubicBezTo>
                <a:cubicBezTo>
                  <a:pt x="1029" y="8024"/>
                  <a:pt x="1039" y="8126"/>
                  <a:pt x="1050" y="8229"/>
                </a:cubicBezTo>
                <a:cubicBezTo>
                  <a:pt x="1059" y="8345"/>
                  <a:pt x="1068" y="8460"/>
                  <a:pt x="1077" y="8575"/>
                </a:cubicBezTo>
                <a:cubicBezTo>
                  <a:pt x="1086" y="8690"/>
                  <a:pt x="1095" y="8804"/>
                  <a:pt x="1104" y="8919"/>
                </a:cubicBezTo>
                <a:lnTo>
                  <a:pt x="1104" y="8919"/>
                </a:lnTo>
                <a:cubicBezTo>
                  <a:pt x="1108" y="8867"/>
                  <a:pt x="1112" y="8816"/>
                  <a:pt x="1116" y="8764"/>
                </a:cubicBezTo>
                <a:lnTo>
                  <a:pt x="1134" y="8575"/>
                </a:lnTo>
                <a:cubicBezTo>
                  <a:pt x="1143" y="8495"/>
                  <a:pt x="1151" y="8413"/>
                  <a:pt x="1160" y="8332"/>
                </a:cubicBezTo>
                <a:cubicBezTo>
                  <a:pt x="1171" y="8236"/>
                  <a:pt x="1182" y="8139"/>
                  <a:pt x="1193" y="8040"/>
                </a:cubicBezTo>
                <a:cubicBezTo>
                  <a:pt x="1207" y="7937"/>
                  <a:pt x="1220" y="7834"/>
                  <a:pt x="1234" y="7731"/>
                </a:cubicBezTo>
                <a:lnTo>
                  <a:pt x="1285" y="7368"/>
                </a:lnTo>
                <a:cubicBezTo>
                  <a:pt x="1304" y="7249"/>
                  <a:pt x="1322" y="7127"/>
                  <a:pt x="1341" y="7006"/>
                </a:cubicBezTo>
                <a:cubicBezTo>
                  <a:pt x="1363" y="6885"/>
                  <a:pt x="1385" y="6765"/>
                  <a:pt x="1407" y="6645"/>
                </a:cubicBezTo>
                <a:cubicBezTo>
                  <a:pt x="1420" y="6582"/>
                  <a:pt x="1432" y="6519"/>
                  <a:pt x="1445" y="6456"/>
                </a:cubicBezTo>
                <a:cubicBezTo>
                  <a:pt x="1458" y="6398"/>
                  <a:pt x="1471" y="6341"/>
                  <a:pt x="1484" y="6283"/>
                </a:cubicBezTo>
                <a:cubicBezTo>
                  <a:pt x="1497" y="6225"/>
                  <a:pt x="1509" y="6169"/>
                  <a:pt x="1522" y="6111"/>
                </a:cubicBezTo>
                <a:cubicBezTo>
                  <a:pt x="1537" y="6053"/>
                  <a:pt x="1552" y="5996"/>
                  <a:pt x="1567" y="5939"/>
                </a:cubicBezTo>
                <a:cubicBezTo>
                  <a:pt x="1582" y="5881"/>
                  <a:pt x="1596" y="5824"/>
                  <a:pt x="1611" y="5766"/>
                </a:cubicBezTo>
                <a:cubicBezTo>
                  <a:pt x="1628" y="5714"/>
                  <a:pt x="1645" y="5664"/>
                  <a:pt x="1662" y="5611"/>
                </a:cubicBezTo>
                <a:cubicBezTo>
                  <a:pt x="1679" y="5560"/>
                  <a:pt x="1694" y="5508"/>
                  <a:pt x="1710" y="5456"/>
                </a:cubicBezTo>
                <a:cubicBezTo>
                  <a:pt x="1728" y="5411"/>
                  <a:pt x="1746" y="5363"/>
                  <a:pt x="1764" y="5318"/>
                </a:cubicBezTo>
                <a:cubicBezTo>
                  <a:pt x="1783" y="5278"/>
                  <a:pt x="1801" y="5237"/>
                  <a:pt x="1820" y="5197"/>
                </a:cubicBezTo>
                <a:cubicBezTo>
                  <a:pt x="1839" y="5158"/>
                  <a:pt x="1857" y="5118"/>
                  <a:pt x="1876" y="5078"/>
                </a:cubicBezTo>
                <a:cubicBezTo>
                  <a:pt x="1896" y="5049"/>
                  <a:pt x="1916" y="5020"/>
                  <a:pt x="1936" y="4992"/>
                </a:cubicBezTo>
                <a:cubicBezTo>
                  <a:pt x="1958" y="4963"/>
                  <a:pt x="1979" y="4934"/>
                  <a:pt x="2001" y="4905"/>
                </a:cubicBezTo>
                <a:cubicBezTo>
                  <a:pt x="2023" y="4882"/>
                  <a:pt x="2044" y="4859"/>
                  <a:pt x="2066" y="4836"/>
                </a:cubicBezTo>
                <a:cubicBezTo>
                  <a:pt x="2088" y="4818"/>
                  <a:pt x="2110" y="4802"/>
                  <a:pt x="2132" y="4784"/>
                </a:cubicBezTo>
                <a:lnTo>
                  <a:pt x="9016" y="4784"/>
                </a:lnTo>
                <a:lnTo>
                  <a:pt x="9016" y="4784"/>
                </a:lnTo>
                <a:lnTo>
                  <a:pt x="9043" y="4784"/>
                </a:lnTo>
                <a:lnTo>
                  <a:pt x="9075" y="4784"/>
                </a:lnTo>
                <a:cubicBezTo>
                  <a:pt x="9088" y="4779"/>
                  <a:pt x="9101" y="4772"/>
                  <a:pt x="9114" y="4767"/>
                </a:cubicBezTo>
                <a:cubicBezTo>
                  <a:pt x="9132" y="4757"/>
                  <a:pt x="9149" y="4744"/>
                  <a:pt x="9167" y="4733"/>
                </a:cubicBezTo>
                <a:cubicBezTo>
                  <a:pt x="9186" y="4710"/>
                  <a:pt x="9205" y="4686"/>
                  <a:pt x="9224" y="4663"/>
                </a:cubicBezTo>
                <a:cubicBezTo>
                  <a:pt x="9246" y="4636"/>
                  <a:pt x="9267" y="4606"/>
                  <a:pt x="9289" y="4578"/>
                </a:cubicBezTo>
                <a:cubicBezTo>
                  <a:pt x="9313" y="4533"/>
                  <a:pt x="9336" y="4486"/>
                  <a:pt x="9360" y="4441"/>
                </a:cubicBezTo>
                <a:cubicBezTo>
                  <a:pt x="9386" y="4378"/>
                  <a:pt x="9411" y="4314"/>
                  <a:pt x="9437" y="4251"/>
                </a:cubicBezTo>
                <a:cubicBezTo>
                  <a:pt x="9450" y="4211"/>
                  <a:pt x="9463" y="4170"/>
                  <a:pt x="9476" y="4130"/>
                </a:cubicBezTo>
                <a:cubicBezTo>
                  <a:pt x="9489" y="4090"/>
                  <a:pt x="9501" y="4049"/>
                  <a:pt x="9514" y="4009"/>
                </a:cubicBezTo>
                <a:cubicBezTo>
                  <a:pt x="9528" y="3964"/>
                  <a:pt x="9542" y="3917"/>
                  <a:pt x="9556" y="3872"/>
                </a:cubicBezTo>
                <a:cubicBezTo>
                  <a:pt x="9570" y="3819"/>
                  <a:pt x="9583" y="3769"/>
                  <a:pt x="9597" y="3716"/>
                </a:cubicBezTo>
                <a:cubicBezTo>
                  <a:pt x="9611" y="3658"/>
                  <a:pt x="9625" y="3602"/>
                  <a:pt x="9639" y="3545"/>
                </a:cubicBezTo>
                <a:cubicBezTo>
                  <a:pt x="9653" y="3482"/>
                  <a:pt x="9667" y="3417"/>
                  <a:pt x="9681" y="3354"/>
                </a:cubicBezTo>
                <a:cubicBezTo>
                  <a:pt x="9695" y="3287"/>
                  <a:pt x="9708" y="3217"/>
                  <a:pt x="9722" y="3148"/>
                </a:cubicBezTo>
                <a:cubicBezTo>
                  <a:pt x="9735" y="3074"/>
                  <a:pt x="9748" y="2998"/>
                  <a:pt x="9761" y="2924"/>
                </a:cubicBezTo>
                <a:cubicBezTo>
                  <a:pt x="9775" y="2838"/>
                  <a:pt x="9788" y="2750"/>
                  <a:pt x="9802" y="2665"/>
                </a:cubicBezTo>
                <a:cubicBezTo>
                  <a:pt x="9816" y="2579"/>
                  <a:pt x="9830" y="2492"/>
                  <a:pt x="9844" y="2407"/>
                </a:cubicBezTo>
                <a:cubicBezTo>
                  <a:pt x="9857" y="2309"/>
                  <a:pt x="9869" y="2212"/>
                  <a:pt x="9882" y="2113"/>
                </a:cubicBezTo>
                <a:cubicBezTo>
                  <a:pt x="9895" y="2010"/>
                  <a:pt x="9908" y="1908"/>
                  <a:pt x="9921" y="1805"/>
                </a:cubicBezTo>
                <a:cubicBezTo>
                  <a:pt x="9934" y="1694"/>
                  <a:pt x="9946" y="1586"/>
                  <a:pt x="9959" y="1477"/>
                </a:cubicBezTo>
                <a:cubicBezTo>
                  <a:pt x="9972" y="1356"/>
                  <a:pt x="9985" y="1236"/>
                  <a:pt x="9998" y="1115"/>
                </a:cubicBezTo>
                <a:cubicBezTo>
                  <a:pt x="10000" y="743"/>
                  <a:pt x="10002" y="372"/>
                  <a:pt x="10004" y="0"/>
                </a:cubicBez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Rectangle 21"/>
          <p:cNvSpPr>
            <a:spLocks noChangeArrowheads="1"/>
          </p:cNvSpPr>
          <p:nvPr userDrawn="1"/>
        </p:nvSpPr>
        <p:spPr bwMode="auto">
          <a:xfrm>
            <a:off x="2880" y="6529646"/>
            <a:ext cx="9903120" cy="328354"/>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7" name="Picture 13">
            <a:hlinkClick r:id="" action="ppaction://hlinkshowjump?jump=nextslide"/>
          </p:cNvPr>
          <p:cNvPicPr>
            <a:picLocks noChangeAspect="1" noChangeArrowheads="1"/>
          </p:cNvPicPr>
          <p:nvPr userDrawn="1"/>
        </p:nvPicPr>
        <p:blipFill>
          <a:blip r:embed="rId6"/>
          <a:srcRect/>
          <a:stretch>
            <a:fillRect/>
          </a:stretch>
        </p:blipFill>
        <p:spPr bwMode="auto">
          <a:xfrm>
            <a:off x="9228138" y="6599299"/>
            <a:ext cx="190500" cy="200025"/>
          </a:xfrm>
          <a:prstGeom prst="rect">
            <a:avLst/>
          </a:prstGeom>
          <a:noFill/>
          <a:ln w="9525">
            <a:noFill/>
            <a:miter lim="800000"/>
            <a:headEnd/>
            <a:tailEnd/>
          </a:ln>
          <a:effectLst/>
        </p:spPr>
      </p:pic>
      <p:pic>
        <p:nvPicPr>
          <p:cNvPr id="18" name="Picture 13">
            <a:hlinkClick r:id="" action="ppaction://hlinkshowjump?jump=previousslide"/>
          </p:cNvPr>
          <p:cNvPicPr>
            <a:picLocks noChangeAspect="1" noChangeArrowheads="1"/>
          </p:cNvPicPr>
          <p:nvPr userDrawn="1"/>
        </p:nvPicPr>
        <p:blipFill>
          <a:blip r:embed="rId6"/>
          <a:srcRect/>
          <a:stretch>
            <a:fillRect/>
          </a:stretch>
        </p:blipFill>
        <p:spPr bwMode="auto">
          <a:xfrm flipH="1">
            <a:off x="8892382" y="6599299"/>
            <a:ext cx="190500" cy="200025"/>
          </a:xfrm>
          <a:prstGeom prst="rect">
            <a:avLst/>
          </a:prstGeom>
          <a:noFill/>
          <a:ln w="9525">
            <a:noFill/>
            <a:miter lim="800000"/>
            <a:headEnd/>
            <a:tailEnd/>
          </a:ln>
          <a:effectLst/>
        </p:spPr>
      </p:pic>
      <p:pic>
        <p:nvPicPr>
          <p:cNvPr id="19" name="Picture 12">
            <a:hlinkClick r:id="rId7" action="ppaction://hlinksldjump"/>
          </p:cNvPr>
          <p:cNvPicPr>
            <a:picLocks noChangeAspect="1" noChangeArrowheads="1"/>
          </p:cNvPicPr>
          <p:nvPr userDrawn="1"/>
        </p:nvPicPr>
        <p:blipFill>
          <a:blip r:embed="rId8"/>
          <a:srcRect/>
          <a:stretch>
            <a:fillRect/>
          </a:stretch>
        </p:blipFill>
        <p:spPr bwMode="auto">
          <a:xfrm>
            <a:off x="1103313" y="6591300"/>
            <a:ext cx="228600" cy="238125"/>
          </a:xfrm>
          <a:prstGeom prst="rect">
            <a:avLst/>
          </a:prstGeom>
          <a:noFill/>
          <a:ln w="9525">
            <a:noFill/>
            <a:miter lim="800000"/>
            <a:headEnd/>
            <a:tailEnd/>
          </a:ln>
          <a:effectLst/>
        </p:spPr>
      </p:pic>
      <p:sp>
        <p:nvSpPr>
          <p:cNvPr id="14" name="Freeform 6"/>
          <p:cNvSpPr>
            <a:spLocks/>
          </p:cNvSpPr>
          <p:nvPr userDrawn="1"/>
        </p:nvSpPr>
        <p:spPr bwMode="auto">
          <a:xfrm>
            <a:off x="0" y="0"/>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slide" Target="../slides/slid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vmlDrawing" Target="../drawings/vmlDrawing7.vml"/><Relationship Id="rId7" Type="http://schemas.openxmlformats.org/officeDocument/2006/relationships/image" Target="../media/image7.png"/><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oleObject" Target="../embeddings/oleObject7.bin"/><Relationship Id="rId11" Type="http://schemas.openxmlformats.org/officeDocument/2006/relationships/image" Target="../media/image5.jpeg"/><Relationship Id="rId5" Type="http://schemas.openxmlformats.org/officeDocument/2006/relationships/tags" Target="../tags/tag14.xml"/><Relationship Id="rId10" Type="http://schemas.openxmlformats.org/officeDocument/2006/relationships/image" Target="../media/image3.emf"/><Relationship Id="rId4" Type="http://schemas.openxmlformats.org/officeDocument/2006/relationships/tags" Target="../tags/tag13.xml"/><Relationship Id="rId9" Type="http://schemas.openxmlformats.org/officeDocument/2006/relationships/slide" Target="../slides/slide1.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13" Type="http://schemas.openxmlformats.org/officeDocument/2006/relationships/slide" Target="../slides/slide1.xml"/><Relationship Id="rId3" Type="http://schemas.openxmlformats.org/officeDocument/2006/relationships/vmlDrawing" Target="../drawings/vmlDrawing9.vml"/><Relationship Id="rId7" Type="http://schemas.openxmlformats.org/officeDocument/2006/relationships/tags" Target="../tags/tag19.xml"/><Relationship Id="rId12" Type="http://schemas.openxmlformats.org/officeDocument/2006/relationships/image" Target="../media/image6.emf"/><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tags" Target="../tags/tag18.xml"/><Relationship Id="rId11" Type="http://schemas.openxmlformats.org/officeDocument/2006/relationships/image" Target="../media/image5.jpeg"/><Relationship Id="rId5" Type="http://schemas.openxmlformats.org/officeDocument/2006/relationships/tags" Target="../tags/tag17.xml"/><Relationship Id="rId10" Type="http://schemas.openxmlformats.org/officeDocument/2006/relationships/image" Target="../media/image2.emf"/><Relationship Id="rId4" Type="http://schemas.openxmlformats.org/officeDocument/2006/relationships/tags" Target="../tags/tag16.xml"/><Relationship Id="rId9" Type="http://schemas.openxmlformats.org/officeDocument/2006/relationships/image" Target="../media/image7.png"/><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11.vml"/><Relationship Id="rId2" Type="http://schemas.openxmlformats.org/officeDocument/2006/relationships/theme" Target="../theme/theme4.xml"/><Relationship Id="rId1" Type="http://schemas.openxmlformats.org/officeDocument/2006/relationships/slideLayout" Target="../slideLayouts/slideLayout8.xml"/><Relationship Id="rId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0" imgW="360" imgH="360" progId="">
              <p:embed/>
            </p:oleObj>
          </a:graphicData>
        </a:graphic>
      </p:graphicFrame>
      <p:sp>
        <p:nvSpPr>
          <p:cNvPr id="2" name="Title Placeholder 1"/>
          <p:cNvSpPr>
            <a:spLocks noGrp="1"/>
          </p:cNvSpPr>
          <p:nvPr>
            <p:ph type="title"/>
            <p:custDataLst>
              <p:tags r:id="rId8"/>
            </p:custDataLst>
          </p:nvPr>
        </p:nvSpPr>
        <p:spPr>
          <a:xfrm>
            <a:off x="493712" y="398177"/>
            <a:ext cx="8924925" cy="287771"/>
          </a:xfrm>
          <a:prstGeom prst="rect">
            <a:avLst/>
          </a:prstGeom>
        </p:spPr>
        <p:txBody>
          <a:bodyPr vert="horz" wrap="square" lIns="0" tIns="0" rIns="0" bIns="0" rtlCol="0" anchor="ctr">
            <a:noAutofit/>
          </a:bodyPr>
          <a:lstStyle/>
          <a:p>
            <a:pPr defTabSz="914315">
              <a:lnSpc>
                <a:spcPct val="85000"/>
              </a:lnSpc>
              <a:spcBef>
                <a:spcPct val="0"/>
              </a:spcBef>
              <a:defRPr/>
            </a:pPr>
            <a:r>
              <a:rPr lang="fr-FR" sz="2200" smtClean="0">
                <a:latin typeface="+mj-lt"/>
                <a:ea typeface="+mj-ea"/>
                <a:cs typeface="+mj-cs"/>
              </a:rPr>
              <a:t>Cliquez pour modifier le style du titre</a:t>
            </a:r>
            <a:endParaRPr lang="en-US" sz="2200" dirty="0">
              <a:latin typeface="+mj-lt"/>
              <a:ea typeface="+mj-ea"/>
              <a:cs typeface="+mj-cs"/>
            </a:endParaRPr>
          </a:p>
        </p:txBody>
      </p:sp>
      <p:sp>
        <p:nvSpPr>
          <p:cNvPr id="3" name="Text Placeholder 2"/>
          <p:cNvSpPr>
            <a:spLocks noGrp="1"/>
          </p:cNvSpPr>
          <p:nvPr>
            <p:ph type="body" idx="1"/>
            <p:custDataLst>
              <p:tags r:id="rId9"/>
            </p:custDataLst>
          </p:nvPr>
        </p:nvSpPr>
        <p:spPr>
          <a:xfrm>
            <a:off x="493713" y="2024063"/>
            <a:ext cx="8924925" cy="4425951"/>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     </a:t>
            </a:r>
          </a:p>
        </p:txBody>
      </p:sp>
      <p:sp>
        <p:nvSpPr>
          <p:cNvPr id="18" name="Rectangle 21"/>
          <p:cNvSpPr>
            <a:spLocks noChangeArrowheads="1"/>
          </p:cNvSpPr>
          <p:nvPr/>
        </p:nvSpPr>
        <p:spPr bwMode="auto">
          <a:xfrm>
            <a:off x="2880" y="6529646"/>
            <a:ext cx="9903120" cy="328354"/>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7" name="Picture 13">
            <a:hlinkClick r:id="" action="ppaction://hlinkshowjump?jump=nextslide"/>
          </p:cNvPr>
          <p:cNvPicPr>
            <a:picLocks noChangeAspect="1" noChangeArrowheads="1"/>
          </p:cNvPicPr>
          <p:nvPr/>
        </p:nvPicPr>
        <p:blipFill>
          <a:blip r:embed="rId11"/>
          <a:srcRect/>
          <a:stretch>
            <a:fillRect/>
          </a:stretch>
        </p:blipFill>
        <p:spPr bwMode="auto">
          <a:xfrm>
            <a:off x="9228138" y="6599299"/>
            <a:ext cx="190500" cy="200025"/>
          </a:xfrm>
          <a:prstGeom prst="rect">
            <a:avLst/>
          </a:prstGeom>
          <a:noFill/>
          <a:ln w="9525">
            <a:noFill/>
            <a:miter lim="800000"/>
            <a:headEnd/>
            <a:tailEnd/>
          </a:ln>
          <a:effectLst/>
        </p:spPr>
      </p:pic>
      <p:pic>
        <p:nvPicPr>
          <p:cNvPr id="21" name="Picture 13">
            <a:hlinkClick r:id="" action="ppaction://hlinkshowjump?jump=previousslide"/>
          </p:cNvPr>
          <p:cNvPicPr>
            <a:picLocks noChangeAspect="1" noChangeArrowheads="1"/>
          </p:cNvPicPr>
          <p:nvPr/>
        </p:nvPicPr>
        <p:blipFill>
          <a:blip r:embed="rId11"/>
          <a:srcRect/>
          <a:stretch>
            <a:fillRect/>
          </a:stretch>
        </p:blipFill>
        <p:spPr bwMode="auto">
          <a:xfrm flipH="1">
            <a:off x="8892382" y="6599299"/>
            <a:ext cx="190500" cy="200025"/>
          </a:xfrm>
          <a:prstGeom prst="rect">
            <a:avLst/>
          </a:prstGeom>
          <a:noFill/>
          <a:ln w="9525">
            <a:noFill/>
            <a:miter lim="800000"/>
            <a:headEnd/>
            <a:tailEnd/>
          </a:ln>
          <a:effectLst/>
        </p:spPr>
      </p:pic>
      <p:pic>
        <p:nvPicPr>
          <p:cNvPr id="22" name="Picture 12">
            <a:hlinkClick r:id="rId12" action="ppaction://hlinksldjump"/>
          </p:cNvPr>
          <p:cNvPicPr>
            <a:picLocks noChangeAspect="1" noChangeArrowheads="1"/>
          </p:cNvPicPr>
          <p:nvPr/>
        </p:nvPicPr>
        <p:blipFill>
          <a:blip r:embed="rId13"/>
          <a:srcRect/>
          <a:stretch>
            <a:fillRect/>
          </a:stretch>
        </p:blipFill>
        <p:spPr bwMode="auto">
          <a:xfrm>
            <a:off x="1103313" y="6591300"/>
            <a:ext cx="228600" cy="238125"/>
          </a:xfrm>
          <a:prstGeom prst="rect">
            <a:avLst/>
          </a:prstGeom>
          <a:noFill/>
          <a:ln w="9525">
            <a:noFill/>
            <a:miter lim="800000"/>
            <a:headEnd/>
            <a:tailEnd/>
          </a:ln>
          <a:effectLst/>
        </p:spPr>
      </p:pic>
      <p:sp>
        <p:nvSpPr>
          <p:cNvPr id="15" name="Freeform 6"/>
          <p:cNvSpPr>
            <a:spLocks/>
          </p:cNvSpPr>
          <p:nvPr/>
        </p:nvSpPr>
        <p:spPr bwMode="auto">
          <a:xfrm>
            <a:off x="0" y="235387"/>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Tree>
  </p:cSld>
  <p:clrMap bg1="lt1" tx1="dk1" bg2="lt2" tx2="dk2" accent1="accent1" accent2="accent2" accent3="accent3" accent4="accent4" accent5="accent5" accent6="accent6" hlink="hlink" folHlink="folHlink"/>
  <p:sldLayoutIdLst>
    <p:sldLayoutId id="2147483928" r:id="rId1"/>
    <p:sldLayoutId id="2147483966" r:id="rId2"/>
    <p:sldLayoutId id="2147483965" r:id="rId3"/>
    <p:sldLayoutId id="2147483964" r:id="rId4"/>
    <p:sldLayoutId id="2147483934" r:id="rId5"/>
  </p:sldLayoutIdLst>
  <p:timing>
    <p:tnLst>
      <p:par>
        <p:cTn id="1" dur="indefinite" restart="never" nodeType="tmRoot"/>
      </p:par>
    </p:tnLst>
  </p:timing>
  <p:hf sldNum="0" hdr="0" dt="0"/>
  <p:txStyles>
    <p:titleStyle>
      <a:lvl1pPr algn="l" defTabSz="914315"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228600" indent="-228600" algn="l" defTabSz="914342" rtl="0" eaLnBrk="1" latinLnBrk="0" hangingPunct="1">
        <a:spcBef>
          <a:spcPts val="0"/>
        </a:spcBef>
        <a:buClr>
          <a:schemeClr val="accent5"/>
        </a:buClr>
        <a:buFont typeface="Wingdings" pitchFamily="2" charset="2"/>
        <a:buChar char="§"/>
        <a:defRPr sz="1400" b="0" kern="1200">
          <a:solidFill>
            <a:schemeClr val="tx1"/>
          </a:solidFill>
          <a:latin typeface="+mn-lt"/>
          <a:ea typeface="+mn-ea"/>
          <a:cs typeface="+mn-cs"/>
        </a:defRPr>
      </a:lvl1pPr>
      <a:lvl2pPr marL="457200" indent="-228600" algn="l" defTabSz="914342" rtl="0" eaLnBrk="1" latinLnBrk="0" hangingPunct="1">
        <a:spcBef>
          <a:spcPts val="0"/>
        </a:spcBef>
        <a:buClr>
          <a:schemeClr val="accent3"/>
        </a:buClr>
        <a:buFont typeface="Wingdings" pitchFamily="2" charset="2"/>
        <a:buChar char="§"/>
        <a:defRPr sz="1400" kern="1200">
          <a:solidFill>
            <a:schemeClr val="tx1"/>
          </a:solidFill>
          <a:latin typeface="+mn-lt"/>
          <a:ea typeface="+mn-ea"/>
          <a:cs typeface="+mn-cs"/>
        </a:defRPr>
      </a:lvl2pPr>
      <a:lvl3pPr marL="685800" indent="-228600" algn="l" defTabSz="914342" rtl="0" eaLnBrk="1" latinLnBrk="0" hangingPunct="1">
        <a:spcBef>
          <a:spcPts val="0"/>
        </a:spcBef>
        <a:buClr>
          <a:schemeClr val="accent2"/>
        </a:buClr>
        <a:buFont typeface="Arial" pitchFamily="34" charset="0"/>
        <a:buChar char="•"/>
        <a:defRPr sz="1400" kern="1200">
          <a:solidFill>
            <a:schemeClr val="tx1"/>
          </a:solidFill>
          <a:latin typeface="+mn-lt"/>
          <a:ea typeface="+mn-ea"/>
          <a:cs typeface="+mn-cs"/>
        </a:defRPr>
      </a:lvl3pPr>
      <a:lvl4pPr marL="914400" indent="-228600" algn="l" defTabSz="914342" rtl="0" eaLnBrk="1" latinLnBrk="0" hangingPunct="1">
        <a:spcBef>
          <a:spcPts val="0"/>
        </a:spcBef>
        <a:buClr>
          <a:schemeClr val="bg2"/>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6" imgW="360" imgH="360" progId="">
              <p:embed/>
            </p:oleObj>
          </a:graphicData>
        </a:graphic>
      </p:graphicFrame>
      <p:sp>
        <p:nvSpPr>
          <p:cNvPr id="28" name="Rectangle 21"/>
          <p:cNvSpPr>
            <a:spLocks noChangeArrowheads="1"/>
          </p:cNvSpPr>
          <p:nvPr/>
        </p:nvSpPr>
        <p:spPr bwMode="auto">
          <a:xfrm>
            <a:off x="2880" y="6529646"/>
            <a:ext cx="9903120" cy="328354"/>
          </a:xfrm>
          <a:prstGeom prst="rect">
            <a:avLst/>
          </a:prstGeom>
          <a:solidFill>
            <a:schemeClr val="accent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Rectangle 30"/>
          <p:cNvSpPr/>
          <p:nvPr/>
        </p:nvSpPr>
        <p:spPr>
          <a:xfrm>
            <a:off x="3790765" y="2485751"/>
            <a:ext cx="6115235" cy="32314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custDataLst>
              <p:tags r:id="rId4"/>
            </p:custDataLst>
          </p:nvPr>
        </p:nvSpPr>
        <p:spPr>
          <a:xfrm>
            <a:off x="4065973" y="5247393"/>
            <a:ext cx="5033828" cy="215444"/>
          </a:xfrm>
          <a:prstGeom prst="rect">
            <a:avLst/>
          </a:prstGeom>
        </p:spPr>
        <p:txBody>
          <a:bodyPr wrap="square" lIns="91440" tIns="0" rIns="0" bIns="0" anchor="b" anchorCtr="0">
            <a:spAutoFit/>
          </a:bodyPr>
          <a:lstStyle/>
          <a:p>
            <a:pPr algn="l"/>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 ©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p>
          <a:p>
            <a:pPr algn="l"/>
            <a:r>
              <a:rPr lang="en-US" sz="700" i="0" dirty="0" smtClean="0">
                <a:solidFill>
                  <a:schemeClr val="bg1"/>
                </a:solidFill>
                <a:latin typeface="Arial"/>
                <a:cs typeface="Arial"/>
              </a:rPr>
              <a:t>Rightshore</a:t>
            </a:r>
            <a:r>
              <a:rPr lang="en-US" sz="700" i="0" baseline="30000" dirty="0" smtClean="0">
                <a:solidFill>
                  <a:schemeClr val="bg1"/>
                </a:solidFill>
                <a:latin typeface="Arial"/>
                <a:cs typeface="Arial"/>
              </a:rPr>
              <a:t>®</a:t>
            </a:r>
            <a:r>
              <a:rPr lang="en-US" sz="700" i="0" dirty="0" smtClean="0">
                <a:solidFill>
                  <a:schemeClr val="bg1"/>
                </a:solidFill>
                <a:latin typeface="Arial"/>
                <a:cs typeface="Arial"/>
              </a:rPr>
              <a:t> is a trademark belonging to Capgemini.</a:t>
            </a:r>
          </a:p>
        </p:txBody>
      </p:sp>
      <p:sp>
        <p:nvSpPr>
          <p:cNvPr id="15" name="Rectangle 14"/>
          <p:cNvSpPr/>
          <p:nvPr>
            <p:custDataLst>
              <p:tags r:id="rId5"/>
            </p:custDataLst>
          </p:nvPr>
        </p:nvSpPr>
        <p:spPr>
          <a:xfrm>
            <a:off x="4065973" y="4744581"/>
            <a:ext cx="2117311" cy="415498"/>
          </a:xfrm>
          <a:prstGeom prst="rect">
            <a:avLst/>
          </a:prstGeom>
        </p:spPr>
        <p:txBody>
          <a:bodyPr wrap="none" lIns="91440" tIns="0" rIns="0" bIns="0" anchor="b" anchorCtr="0">
            <a:spAutoFit/>
          </a:bodyPr>
          <a:lstStyle/>
          <a:p>
            <a:pPr marL="0" marR="0" indent="0" algn="l" defTabSz="957756" rtl="0" eaLnBrk="1" fontAlgn="auto" latinLnBrk="0" hangingPunct="1">
              <a:lnSpc>
                <a:spcPct val="100000"/>
              </a:lnSpc>
              <a:spcBef>
                <a:spcPts val="0"/>
              </a:spcBef>
              <a:spcAft>
                <a:spcPts val="0"/>
              </a:spcAft>
              <a:buClrTx/>
              <a:buSzTx/>
              <a:buFontTx/>
              <a:buNone/>
              <a:tabLst/>
              <a:defRPr/>
            </a:pPr>
            <a:r>
              <a:rPr lang="en-US" sz="1000" kern="1200" dirty="0" smtClean="0">
                <a:solidFill>
                  <a:schemeClr val="bg1"/>
                </a:solidFill>
                <a:latin typeface="Arial" pitchFamily="34" charset="0"/>
                <a:ea typeface="+mn-ea"/>
                <a:cs typeface="Arial" pitchFamily="34" charset="0"/>
              </a:rPr>
              <a:t>Learn more about us at</a:t>
            </a:r>
          </a:p>
          <a:p>
            <a:pPr algn="l"/>
            <a:r>
              <a:rPr lang="en-US" sz="1600" b="1" dirty="0" smtClean="0">
                <a:solidFill>
                  <a:schemeClr val="bg1"/>
                </a:solidFill>
                <a:latin typeface="Arial" pitchFamily="34" charset="0"/>
                <a:cs typeface="Arial" pitchFamily="34" charset="0"/>
              </a:rPr>
              <a:t>www.capgemini.com</a:t>
            </a:r>
            <a:endParaRPr lang="en-US" sz="1600" b="1" dirty="0">
              <a:solidFill>
                <a:schemeClr val="bg1"/>
              </a:solidFill>
              <a:latin typeface="Arial" pitchFamily="34" charset="0"/>
              <a:cs typeface="Arial" pitchFamily="34" charset="0"/>
            </a:endParaRPr>
          </a:p>
        </p:txBody>
      </p:sp>
      <p:grpSp>
        <p:nvGrpSpPr>
          <p:cNvPr id="27" name="Group 26"/>
          <p:cNvGrpSpPr/>
          <p:nvPr/>
        </p:nvGrpSpPr>
        <p:grpSpPr>
          <a:xfrm>
            <a:off x="4065973" y="2707280"/>
            <a:ext cx="5573080" cy="536493"/>
            <a:chOff x="4141844" y="2591866"/>
            <a:chExt cx="5573080" cy="536493"/>
          </a:xfrm>
        </p:grpSpPr>
        <p:pic>
          <p:nvPicPr>
            <p:cNvPr id="33" name="Image 337" descr="CBE_Label_ppt.png"/>
            <p:cNvPicPr>
              <a:picLocks noChangeAspect="1"/>
            </p:cNvPicPr>
            <p:nvPr userDrawn="1"/>
          </p:nvPicPr>
          <p:blipFill>
            <a:blip r:embed="rId7" cstate="screen"/>
            <a:stretch>
              <a:fillRect/>
            </a:stretch>
          </p:blipFill>
          <p:spPr>
            <a:xfrm>
              <a:off x="4141844" y="2605851"/>
              <a:ext cx="519572" cy="522508"/>
            </a:xfrm>
            <a:prstGeom prst="rect">
              <a:avLst/>
            </a:prstGeom>
          </p:spPr>
        </p:pic>
        <p:sp>
          <p:nvSpPr>
            <p:cNvPr id="24" name="Rectangle 23"/>
            <p:cNvSpPr/>
            <p:nvPr userDrawn="1"/>
          </p:nvSpPr>
          <p:spPr>
            <a:xfrm>
              <a:off x="4633970" y="2591866"/>
              <a:ext cx="5080954" cy="369332"/>
            </a:xfrm>
            <a:prstGeom prst="rect">
              <a:avLst/>
            </a:prstGeom>
          </p:spPr>
          <p:txBody>
            <a:bodyPr wrap="square">
              <a:spAutoFit/>
            </a:bodyPr>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p:txBody>
        </p:sp>
        <p:cxnSp>
          <p:nvCxnSpPr>
            <p:cNvPr id="26" name="Straight Connector 25"/>
            <p:cNvCxnSpPr/>
            <p:nvPr userDrawn="1"/>
          </p:nvCxnSpPr>
          <p:spPr>
            <a:xfrm>
              <a:off x="4700964" y="2993821"/>
              <a:ext cx="490064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1" name="Picture 13">
            <a:hlinkClick r:id="" action="ppaction://hlinkshowjump?jump=previousslide"/>
          </p:cNvPr>
          <p:cNvPicPr>
            <a:picLocks noChangeAspect="1" noChangeArrowheads="1"/>
          </p:cNvPicPr>
          <p:nvPr/>
        </p:nvPicPr>
        <p:blipFill>
          <a:blip r:embed="rId8"/>
          <a:srcRect/>
          <a:stretch>
            <a:fillRect/>
          </a:stretch>
        </p:blipFill>
        <p:spPr bwMode="auto">
          <a:xfrm flipH="1">
            <a:off x="8892382" y="6599299"/>
            <a:ext cx="190500" cy="200025"/>
          </a:xfrm>
          <a:prstGeom prst="rect">
            <a:avLst/>
          </a:prstGeom>
          <a:noFill/>
          <a:ln w="9525">
            <a:noFill/>
            <a:miter lim="800000"/>
            <a:headEnd/>
            <a:tailEnd/>
          </a:ln>
          <a:effectLst/>
        </p:spPr>
      </p:pic>
      <p:pic>
        <p:nvPicPr>
          <p:cNvPr id="22" name="Picture 12">
            <a:hlinkClick r:id="rId9" action="ppaction://hlinksldjump"/>
          </p:cNvPr>
          <p:cNvPicPr>
            <a:picLocks noChangeAspect="1" noChangeArrowheads="1"/>
          </p:cNvPicPr>
          <p:nvPr/>
        </p:nvPicPr>
        <p:blipFill>
          <a:blip r:embed="rId10"/>
          <a:srcRect/>
          <a:stretch>
            <a:fillRect/>
          </a:stretch>
        </p:blipFill>
        <p:spPr bwMode="auto">
          <a:xfrm>
            <a:off x="1103313" y="6591300"/>
            <a:ext cx="228600" cy="238125"/>
          </a:xfrm>
          <a:prstGeom prst="rect">
            <a:avLst/>
          </a:prstGeom>
          <a:noFill/>
          <a:ln w="9525">
            <a:noFill/>
            <a:miter lim="800000"/>
            <a:headEnd/>
            <a:tailEnd/>
          </a:ln>
          <a:effectLst/>
        </p:spPr>
      </p:pic>
      <p:sp>
        <p:nvSpPr>
          <p:cNvPr id="18" name="Freeform 19"/>
          <p:cNvSpPr>
            <a:spLocks/>
          </p:cNvSpPr>
          <p:nvPr/>
        </p:nvSpPr>
        <p:spPr bwMode="auto">
          <a:xfrm>
            <a:off x="-89" y="-68"/>
            <a:ext cx="9906089" cy="2323475"/>
          </a:xfrm>
          <a:custGeom>
            <a:avLst/>
            <a:gdLst>
              <a:gd name="connsiteX0" fmla="*/ 219 w 10000"/>
              <a:gd name="connsiteY0" fmla="*/ 1089 h 10000"/>
              <a:gd name="connsiteX1" fmla="*/ 0 w 10000"/>
              <a:gd name="connsiteY1" fmla="*/ 6808 h 10000"/>
              <a:gd name="connsiteX2" fmla="*/ 0 w 10000"/>
              <a:gd name="connsiteY2" fmla="*/ 6808 h 10000"/>
              <a:gd name="connsiteX3" fmla="*/ 39 w 10000"/>
              <a:gd name="connsiteY3" fmla="*/ 6834 h 10000"/>
              <a:gd name="connsiteX4" fmla="*/ 80 w 10000"/>
              <a:gd name="connsiteY4" fmla="*/ 6860 h 10000"/>
              <a:gd name="connsiteX5" fmla="*/ 136 w 10000"/>
              <a:gd name="connsiteY5" fmla="*/ 6898 h 10000"/>
              <a:gd name="connsiteX6" fmla="*/ 205 w 10000"/>
              <a:gd name="connsiteY6" fmla="*/ 6963 h 10000"/>
              <a:gd name="connsiteX7" fmla="*/ 282 w 10000"/>
              <a:gd name="connsiteY7" fmla="*/ 7053 h 10000"/>
              <a:gd name="connsiteX8" fmla="*/ 368 w 10000"/>
              <a:gd name="connsiteY8" fmla="*/ 7169 h 10000"/>
              <a:gd name="connsiteX9" fmla="*/ 457 w 10000"/>
              <a:gd name="connsiteY9" fmla="*/ 7310 h 10000"/>
              <a:gd name="connsiteX10" fmla="*/ 552 w 10000"/>
              <a:gd name="connsiteY10" fmla="*/ 7490 h 10000"/>
              <a:gd name="connsiteX11" fmla="*/ 596 w 10000"/>
              <a:gd name="connsiteY11" fmla="*/ 7593 h 10000"/>
              <a:gd name="connsiteX12" fmla="*/ 644 w 10000"/>
              <a:gd name="connsiteY12" fmla="*/ 7709 h 10000"/>
              <a:gd name="connsiteX13" fmla="*/ 691 w 10000"/>
              <a:gd name="connsiteY13" fmla="*/ 7838 h 10000"/>
              <a:gd name="connsiteX14" fmla="*/ 736 w 10000"/>
              <a:gd name="connsiteY14" fmla="*/ 7967 h 10000"/>
              <a:gd name="connsiteX15" fmla="*/ 780 w 10000"/>
              <a:gd name="connsiteY15" fmla="*/ 8121 h 10000"/>
              <a:gd name="connsiteX16" fmla="*/ 825 w 10000"/>
              <a:gd name="connsiteY16" fmla="*/ 8275 h 10000"/>
              <a:gd name="connsiteX17" fmla="*/ 866 w 10000"/>
              <a:gd name="connsiteY17" fmla="*/ 8443 h 10000"/>
              <a:gd name="connsiteX18" fmla="*/ 908 w 10000"/>
              <a:gd name="connsiteY18" fmla="*/ 8623 h 10000"/>
              <a:gd name="connsiteX19" fmla="*/ 947 w 10000"/>
              <a:gd name="connsiteY19" fmla="*/ 8816 h 10000"/>
              <a:gd name="connsiteX20" fmla="*/ 982 w 10000"/>
              <a:gd name="connsiteY20" fmla="*/ 9022 h 10000"/>
              <a:gd name="connsiteX21" fmla="*/ 1015 w 10000"/>
              <a:gd name="connsiteY21" fmla="*/ 9254 h 10000"/>
              <a:gd name="connsiteX22" fmla="*/ 1047 w 10000"/>
              <a:gd name="connsiteY22" fmla="*/ 9485 h 10000"/>
              <a:gd name="connsiteX23" fmla="*/ 1074 w 10000"/>
              <a:gd name="connsiteY23" fmla="*/ 9743 h 10000"/>
              <a:gd name="connsiteX24" fmla="*/ 1101 w 10000"/>
              <a:gd name="connsiteY24" fmla="*/ 10000 h 10000"/>
              <a:gd name="connsiteX25" fmla="*/ 1101 w 10000"/>
              <a:gd name="connsiteY25" fmla="*/ 10000 h 10000"/>
              <a:gd name="connsiteX26" fmla="*/ 1113 w 10000"/>
              <a:gd name="connsiteY26" fmla="*/ 9884 h 10000"/>
              <a:gd name="connsiteX27" fmla="*/ 1131 w 10000"/>
              <a:gd name="connsiteY27" fmla="*/ 9743 h 10000"/>
              <a:gd name="connsiteX28" fmla="*/ 1157 w 10000"/>
              <a:gd name="connsiteY28" fmla="*/ 9562 h 10000"/>
              <a:gd name="connsiteX29" fmla="*/ 1190 w 10000"/>
              <a:gd name="connsiteY29" fmla="*/ 9344 h 10000"/>
              <a:gd name="connsiteX30" fmla="*/ 1231 w 10000"/>
              <a:gd name="connsiteY30" fmla="*/ 9112 h 10000"/>
              <a:gd name="connsiteX31" fmla="*/ 1282 w 10000"/>
              <a:gd name="connsiteY31" fmla="*/ 8842 h 10000"/>
              <a:gd name="connsiteX32" fmla="*/ 1338 w 10000"/>
              <a:gd name="connsiteY32" fmla="*/ 8571 h 10000"/>
              <a:gd name="connsiteX33" fmla="*/ 1404 w 10000"/>
              <a:gd name="connsiteY33" fmla="*/ 8301 h 10000"/>
              <a:gd name="connsiteX34" fmla="*/ 1442 w 10000"/>
              <a:gd name="connsiteY34" fmla="*/ 8160 h 10000"/>
              <a:gd name="connsiteX35" fmla="*/ 1481 w 10000"/>
              <a:gd name="connsiteY35" fmla="*/ 8031 h 10000"/>
              <a:gd name="connsiteX36" fmla="*/ 1519 w 10000"/>
              <a:gd name="connsiteY36" fmla="*/ 7902 h 10000"/>
              <a:gd name="connsiteX37" fmla="*/ 1564 w 10000"/>
              <a:gd name="connsiteY37" fmla="*/ 7773 h 10000"/>
              <a:gd name="connsiteX38" fmla="*/ 1608 w 10000"/>
              <a:gd name="connsiteY38" fmla="*/ 7645 h 10000"/>
              <a:gd name="connsiteX39" fmla="*/ 1659 w 10000"/>
              <a:gd name="connsiteY39" fmla="*/ 7529 h 10000"/>
              <a:gd name="connsiteX40" fmla="*/ 1706 w 10000"/>
              <a:gd name="connsiteY40" fmla="*/ 7413 h 10000"/>
              <a:gd name="connsiteX41" fmla="*/ 1760 w 10000"/>
              <a:gd name="connsiteY41" fmla="*/ 7310 h 10000"/>
              <a:gd name="connsiteX42" fmla="*/ 1816 w 10000"/>
              <a:gd name="connsiteY42" fmla="*/ 7220 h 10000"/>
              <a:gd name="connsiteX43" fmla="*/ 1872 w 10000"/>
              <a:gd name="connsiteY43" fmla="*/ 7130 h 10000"/>
              <a:gd name="connsiteX44" fmla="*/ 1932 w 10000"/>
              <a:gd name="connsiteY44" fmla="*/ 7066 h 10000"/>
              <a:gd name="connsiteX45" fmla="*/ 1997 w 10000"/>
              <a:gd name="connsiteY45" fmla="*/ 7001 h 10000"/>
              <a:gd name="connsiteX46" fmla="*/ 2062 w 10000"/>
              <a:gd name="connsiteY46" fmla="*/ 6950 h 10000"/>
              <a:gd name="connsiteX47" fmla="*/ 2128 w 10000"/>
              <a:gd name="connsiteY47" fmla="*/ 6911 h 10000"/>
              <a:gd name="connsiteX48" fmla="*/ 9012 w 10000"/>
              <a:gd name="connsiteY48" fmla="*/ 6911 h 10000"/>
              <a:gd name="connsiteX49" fmla="*/ 9012 w 10000"/>
              <a:gd name="connsiteY49" fmla="*/ 6911 h 10000"/>
              <a:gd name="connsiteX50" fmla="*/ 9039 w 10000"/>
              <a:gd name="connsiteY50" fmla="*/ 6911 h 10000"/>
              <a:gd name="connsiteX51" fmla="*/ 9071 w 10000"/>
              <a:gd name="connsiteY51" fmla="*/ 6911 h 10000"/>
              <a:gd name="connsiteX52" fmla="*/ 9110 w 10000"/>
              <a:gd name="connsiteY52" fmla="*/ 6898 h 10000"/>
              <a:gd name="connsiteX53" fmla="*/ 9163 w 10000"/>
              <a:gd name="connsiteY53" fmla="*/ 6873 h 10000"/>
              <a:gd name="connsiteX54" fmla="*/ 9220 w 10000"/>
              <a:gd name="connsiteY54" fmla="*/ 6821 h 10000"/>
              <a:gd name="connsiteX55" fmla="*/ 9285 w 10000"/>
              <a:gd name="connsiteY55" fmla="*/ 6757 h 10000"/>
              <a:gd name="connsiteX56" fmla="*/ 9356 w 10000"/>
              <a:gd name="connsiteY56" fmla="*/ 6654 h 10000"/>
              <a:gd name="connsiteX57" fmla="*/ 9433 w 10000"/>
              <a:gd name="connsiteY57" fmla="*/ 6512 h 10000"/>
              <a:gd name="connsiteX58" fmla="*/ 9472 w 10000"/>
              <a:gd name="connsiteY58" fmla="*/ 6422 h 10000"/>
              <a:gd name="connsiteX59" fmla="*/ 9510 w 10000"/>
              <a:gd name="connsiteY59" fmla="*/ 6332 h 10000"/>
              <a:gd name="connsiteX60" fmla="*/ 9552 w 10000"/>
              <a:gd name="connsiteY60" fmla="*/ 6229 h 10000"/>
              <a:gd name="connsiteX61" fmla="*/ 9593 w 10000"/>
              <a:gd name="connsiteY61" fmla="*/ 6113 h 10000"/>
              <a:gd name="connsiteX62" fmla="*/ 9635 w 10000"/>
              <a:gd name="connsiteY62" fmla="*/ 5985 h 10000"/>
              <a:gd name="connsiteX63" fmla="*/ 9677 w 10000"/>
              <a:gd name="connsiteY63" fmla="*/ 5843 h 10000"/>
              <a:gd name="connsiteX64" fmla="*/ 9718 w 10000"/>
              <a:gd name="connsiteY64" fmla="*/ 5689 h 10000"/>
              <a:gd name="connsiteX65" fmla="*/ 9757 w 10000"/>
              <a:gd name="connsiteY65" fmla="*/ 5521 h 10000"/>
              <a:gd name="connsiteX66" fmla="*/ 9798 w 10000"/>
              <a:gd name="connsiteY66" fmla="*/ 5328 h 10000"/>
              <a:gd name="connsiteX67" fmla="*/ 9840 w 10000"/>
              <a:gd name="connsiteY67" fmla="*/ 5135 h 10000"/>
              <a:gd name="connsiteX68" fmla="*/ 9878 w 10000"/>
              <a:gd name="connsiteY68" fmla="*/ 4916 h 10000"/>
              <a:gd name="connsiteX69" fmla="*/ 9917 w 10000"/>
              <a:gd name="connsiteY69" fmla="*/ 4685 h 10000"/>
              <a:gd name="connsiteX70" fmla="*/ 9955 w 10000"/>
              <a:gd name="connsiteY70" fmla="*/ 4440 h 10000"/>
              <a:gd name="connsiteX71" fmla="*/ 9994 w 10000"/>
              <a:gd name="connsiteY71" fmla="*/ 4170 h 10000"/>
              <a:gd name="connsiteX72" fmla="*/ 10000 w 10000"/>
              <a:gd name="connsiteY72" fmla="*/ 0 h 10000"/>
              <a:gd name="connsiteX73" fmla="*/ 219 w 10000"/>
              <a:gd name="connsiteY73" fmla="*/ 1089 h 10000"/>
              <a:gd name="connsiteX0" fmla="*/ 0 w 10003"/>
              <a:gd name="connsiteY0" fmla="*/ 316 h 10000"/>
              <a:gd name="connsiteX1" fmla="*/ 3 w 10003"/>
              <a:gd name="connsiteY1" fmla="*/ 6808 h 10000"/>
              <a:gd name="connsiteX2" fmla="*/ 3 w 10003"/>
              <a:gd name="connsiteY2" fmla="*/ 6808 h 10000"/>
              <a:gd name="connsiteX3" fmla="*/ 42 w 10003"/>
              <a:gd name="connsiteY3" fmla="*/ 6834 h 10000"/>
              <a:gd name="connsiteX4" fmla="*/ 83 w 10003"/>
              <a:gd name="connsiteY4" fmla="*/ 6860 h 10000"/>
              <a:gd name="connsiteX5" fmla="*/ 139 w 10003"/>
              <a:gd name="connsiteY5" fmla="*/ 6898 h 10000"/>
              <a:gd name="connsiteX6" fmla="*/ 208 w 10003"/>
              <a:gd name="connsiteY6" fmla="*/ 6963 h 10000"/>
              <a:gd name="connsiteX7" fmla="*/ 285 w 10003"/>
              <a:gd name="connsiteY7" fmla="*/ 7053 h 10000"/>
              <a:gd name="connsiteX8" fmla="*/ 371 w 10003"/>
              <a:gd name="connsiteY8" fmla="*/ 7169 h 10000"/>
              <a:gd name="connsiteX9" fmla="*/ 460 w 10003"/>
              <a:gd name="connsiteY9" fmla="*/ 7310 h 10000"/>
              <a:gd name="connsiteX10" fmla="*/ 555 w 10003"/>
              <a:gd name="connsiteY10" fmla="*/ 7490 h 10000"/>
              <a:gd name="connsiteX11" fmla="*/ 599 w 10003"/>
              <a:gd name="connsiteY11" fmla="*/ 7593 h 10000"/>
              <a:gd name="connsiteX12" fmla="*/ 647 w 10003"/>
              <a:gd name="connsiteY12" fmla="*/ 7709 h 10000"/>
              <a:gd name="connsiteX13" fmla="*/ 694 w 10003"/>
              <a:gd name="connsiteY13" fmla="*/ 7838 h 10000"/>
              <a:gd name="connsiteX14" fmla="*/ 739 w 10003"/>
              <a:gd name="connsiteY14" fmla="*/ 7967 h 10000"/>
              <a:gd name="connsiteX15" fmla="*/ 783 w 10003"/>
              <a:gd name="connsiteY15" fmla="*/ 8121 h 10000"/>
              <a:gd name="connsiteX16" fmla="*/ 828 w 10003"/>
              <a:gd name="connsiteY16" fmla="*/ 8275 h 10000"/>
              <a:gd name="connsiteX17" fmla="*/ 869 w 10003"/>
              <a:gd name="connsiteY17" fmla="*/ 8443 h 10000"/>
              <a:gd name="connsiteX18" fmla="*/ 911 w 10003"/>
              <a:gd name="connsiteY18" fmla="*/ 8623 h 10000"/>
              <a:gd name="connsiteX19" fmla="*/ 950 w 10003"/>
              <a:gd name="connsiteY19" fmla="*/ 8816 h 10000"/>
              <a:gd name="connsiteX20" fmla="*/ 985 w 10003"/>
              <a:gd name="connsiteY20" fmla="*/ 9022 h 10000"/>
              <a:gd name="connsiteX21" fmla="*/ 1018 w 10003"/>
              <a:gd name="connsiteY21" fmla="*/ 9254 h 10000"/>
              <a:gd name="connsiteX22" fmla="*/ 1050 w 10003"/>
              <a:gd name="connsiteY22" fmla="*/ 9485 h 10000"/>
              <a:gd name="connsiteX23" fmla="*/ 1077 w 10003"/>
              <a:gd name="connsiteY23" fmla="*/ 9743 h 10000"/>
              <a:gd name="connsiteX24" fmla="*/ 1104 w 10003"/>
              <a:gd name="connsiteY24" fmla="*/ 10000 h 10000"/>
              <a:gd name="connsiteX25" fmla="*/ 1104 w 10003"/>
              <a:gd name="connsiteY25" fmla="*/ 10000 h 10000"/>
              <a:gd name="connsiteX26" fmla="*/ 1116 w 10003"/>
              <a:gd name="connsiteY26" fmla="*/ 9884 h 10000"/>
              <a:gd name="connsiteX27" fmla="*/ 1134 w 10003"/>
              <a:gd name="connsiteY27" fmla="*/ 9743 h 10000"/>
              <a:gd name="connsiteX28" fmla="*/ 1160 w 10003"/>
              <a:gd name="connsiteY28" fmla="*/ 9562 h 10000"/>
              <a:gd name="connsiteX29" fmla="*/ 1193 w 10003"/>
              <a:gd name="connsiteY29" fmla="*/ 9344 h 10000"/>
              <a:gd name="connsiteX30" fmla="*/ 1234 w 10003"/>
              <a:gd name="connsiteY30" fmla="*/ 9112 h 10000"/>
              <a:gd name="connsiteX31" fmla="*/ 1285 w 10003"/>
              <a:gd name="connsiteY31" fmla="*/ 8842 h 10000"/>
              <a:gd name="connsiteX32" fmla="*/ 1341 w 10003"/>
              <a:gd name="connsiteY32" fmla="*/ 8571 h 10000"/>
              <a:gd name="connsiteX33" fmla="*/ 1407 w 10003"/>
              <a:gd name="connsiteY33" fmla="*/ 8301 h 10000"/>
              <a:gd name="connsiteX34" fmla="*/ 1445 w 10003"/>
              <a:gd name="connsiteY34" fmla="*/ 8160 h 10000"/>
              <a:gd name="connsiteX35" fmla="*/ 1484 w 10003"/>
              <a:gd name="connsiteY35" fmla="*/ 8031 h 10000"/>
              <a:gd name="connsiteX36" fmla="*/ 1522 w 10003"/>
              <a:gd name="connsiteY36" fmla="*/ 7902 h 10000"/>
              <a:gd name="connsiteX37" fmla="*/ 1567 w 10003"/>
              <a:gd name="connsiteY37" fmla="*/ 7773 h 10000"/>
              <a:gd name="connsiteX38" fmla="*/ 1611 w 10003"/>
              <a:gd name="connsiteY38" fmla="*/ 7645 h 10000"/>
              <a:gd name="connsiteX39" fmla="*/ 1662 w 10003"/>
              <a:gd name="connsiteY39" fmla="*/ 7529 h 10000"/>
              <a:gd name="connsiteX40" fmla="*/ 1709 w 10003"/>
              <a:gd name="connsiteY40" fmla="*/ 7413 h 10000"/>
              <a:gd name="connsiteX41" fmla="*/ 1763 w 10003"/>
              <a:gd name="connsiteY41" fmla="*/ 7310 h 10000"/>
              <a:gd name="connsiteX42" fmla="*/ 1819 w 10003"/>
              <a:gd name="connsiteY42" fmla="*/ 7220 h 10000"/>
              <a:gd name="connsiteX43" fmla="*/ 1875 w 10003"/>
              <a:gd name="connsiteY43" fmla="*/ 7130 h 10000"/>
              <a:gd name="connsiteX44" fmla="*/ 1935 w 10003"/>
              <a:gd name="connsiteY44" fmla="*/ 7066 h 10000"/>
              <a:gd name="connsiteX45" fmla="*/ 2000 w 10003"/>
              <a:gd name="connsiteY45" fmla="*/ 7001 h 10000"/>
              <a:gd name="connsiteX46" fmla="*/ 2065 w 10003"/>
              <a:gd name="connsiteY46" fmla="*/ 6950 h 10000"/>
              <a:gd name="connsiteX47" fmla="*/ 2131 w 10003"/>
              <a:gd name="connsiteY47" fmla="*/ 6911 h 10000"/>
              <a:gd name="connsiteX48" fmla="*/ 9015 w 10003"/>
              <a:gd name="connsiteY48" fmla="*/ 6911 h 10000"/>
              <a:gd name="connsiteX49" fmla="*/ 9015 w 10003"/>
              <a:gd name="connsiteY49" fmla="*/ 6911 h 10000"/>
              <a:gd name="connsiteX50" fmla="*/ 9042 w 10003"/>
              <a:gd name="connsiteY50" fmla="*/ 6911 h 10000"/>
              <a:gd name="connsiteX51" fmla="*/ 9074 w 10003"/>
              <a:gd name="connsiteY51" fmla="*/ 6911 h 10000"/>
              <a:gd name="connsiteX52" fmla="*/ 9113 w 10003"/>
              <a:gd name="connsiteY52" fmla="*/ 6898 h 10000"/>
              <a:gd name="connsiteX53" fmla="*/ 9166 w 10003"/>
              <a:gd name="connsiteY53" fmla="*/ 6873 h 10000"/>
              <a:gd name="connsiteX54" fmla="*/ 9223 w 10003"/>
              <a:gd name="connsiteY54" fmla="*/ 6821 h 10000"/>
              <a:gd name="connsiteX55" fmla="*/ 9288 w 10003"/>
              <a:gd name="connsiteY55" fmla="*/ 6757 h 10000"/>
              <a:gd name="connsiteX56" fmla="*/ 9359 w 10003"/>
              <a:gd name="connsiteY56" fmla="*/ 6654 h 10000"/>
              <a:gd name="connsiteX57" fmla="*/ 9436 w 10003"/>
              <a:gd name="connsiteY57" fmla="*/ 6512 h 10000"/>
              <a:gd name="connsiteX58" fmla="*/ 9475 w 10003"/>
              <a:gd name="connsiteY58" fmla="*/ 6422 h 10000"/>
              <a:gd name="connsiteX59" fmla="*/ 9513 w 10003"/>
              <a:gd name="connsiteY59" fmla="*/ 6332 h 10000"/>
              <a:gd name="connsiteX60" fmla="*/ 9555 w 10003"/>
              <a:gd name="connsiteY60" fmla="*/ 6229 h 10000"/>
              <a:gd name="connsiteX61" fmla="*/ 9596 w 10003"/>
              <a:gd name="connsiteY61" fmla="*/ 6113 h 10000"/>
              <a:gd name="connsiteX62" fmla="*/ 9638 w 10003"/>
              <a:gd name="connsiteY62" fmla="*/ 5985 h 10000"/>
              <a:gd name="connsiteX63" fmla="*/ 9680 w 10003"/>
              <a:gd name="connsiteY63" fmla="*/ 5843 h 10000"/>
              <a:gd name="connsiteX64" fmla="*/ 9721 w 10003"/>
              <a:gd name="connsiteY64" fmla="*/ 5689 h 10000"/>
              <a:gd name="connsiteX65" fmla="*/ 9760 w 10003"/>
              <a:gd name="connsiteY65" fmla="*/ 5521 h 10000"/>
              <a:gd name="connsiteX66" fmla="*/ 9801 w 10003"/>
              <a:gd name="connsiteY66" fmla="*/ 5328 h 10000"/>
              <a:gd name="connsiteX67" fmla="*/ 9843 w 10003"/>
              <a:gd name="connsiteY67" fmla="*/ 5135 h 10000"/>
              <a:gd name="connsiteX68" fmla="*/ 9881 w 10003"/>
              <a:gd name="connsiteY68" fmla="*/ 4916 h 10000"/>
              <a:gd name="connsiteX69" fmla="*/ 9920 w 10003"/>
              <a:gd name="connsiteY69" fmla="*/ 4685 h 10000"/>
              <a:gd name="connsiteX70" fmla="*/ 9958 w 10003"/>
              <a:gd name="connsiteY70" fmla="*/ 4440 h 10000"/>
              <a:gd name="connsiteX71" fmla="*/ 9997 w 10003"/>
              <a:gd name="connsiteY71" fmla="*/ 4170 h 10000"/>
              <a:gd name="connsiteX72" fmla="*/ 10003 w 10003"/>
              <a:gd name="connsiteY72" fmla="*/ 0 h 10000"/>
              <a:gd name="connsiteX73" fmla="*/ 0 w 10003"/>
              <a:gd name="connsiteY73" fmla="*/ 316 h 10000"/>
              <a:gd name="connsiteX0" fmla="*/ 0 w 9997"/>
              <a:gd name="connsiteY0" fmla="*/ 0 h 9684"/>
              <a:gd name="connsiteX1" fmla="*/ 3 w 9997"/>
              <a:gd name="connsiteY1" fmla="*/ 6492 h 9684"/>
              <a:gd name="connsiteX2" fmla="*/ 3 w 9997"/>
              <a:gd name="connsiteY2" fmla="*/ 6492 h 9684"/>
              <a:gd name="connsiteX3" fmla="*/ 42 w 9997"/>
              <a:gd name="connsiteY3" fmla="*/ 6518 h 9684"/>
              <a:gd name="connsiteX4" fmla="*/ 83 w 9997"/>
              <a:gd name="connsiteY4" fmla="*/ 6544 h 9684"/>
              <a:gd name="connsiteX5" fmla="*/ 139 w 9997"/>
              <a:gd name="connsiteY5" fmla="*/ 6582 h 9684"/>
              <a:gd name="connsiteX6" fmla="*/ 208 w 9997"/>
              <a:gd name="connsiteY6" fmla="*/ 6647 h 9684"/>
              <a:gd name="connsiteX7" fmla="*/ 285 w 9997"/>
              <a:gd name="connsiteY7" fmla="*/ 6737 h 9684"/>
              <a:gd name="connsiteX8" fmla="*/ 371 w 9997"/>
              <a:gd name="connsiteY8" fmla="*/ 6853 h 9684"/>
              <a:gd name="connsiteX9" fmla="*/ 460 w 9997"/>
              <a:gd name="connsiteY9" fmla="*/ 6994 h 9684"/>
              <a:gd name="connsiteX10" fmla="*/ 555 w 9997"/>
              <a:gd name="connsiteY10" fmla="*/ 7174 h 9684"/>
              <a:gd name="connsiteX11" fmla="*/ 599 w 9997"/>
              <a:gd name="connsiteY11" fmla="*/ 7277 h 9684"/>
              <a:gd name="connsiteX12" fmla="*/ 647 w 9997"/>
              <a:gd name="connsiteY12" fmla="*/ 7393 h 9684"/>
              <a:gd name="connsiteX13" fmla="*/ 694 w 9997"/>
              <a:gd name="connsiteY13" fmla="*/ 7522 h 9684"/>
              <a:gd name="connsiteX14" fmla="*/ 739 w 9997"/>
              <a:gd name="connsiteY14" fmla="*/ 7651 h 9684"/>
              <a:gd name="connsiteX15" fmla="*/ 783 w 9997"/>
              <a:gd name="connsiteY15" fmla="*/ 7805 h 9684"/>
              <a:gd name="connsiteX16" fmla="*/ 828 w 9997"/>
              <a:gd name="connsiteY16" fmla="*/ 7959 h 9684"/>
              <a:gd name="connsiteX17" fmla="*/ 869 w 9997"/>
              <a:gd name="connsiteY17" fmla="*/ 8127 h 9684"/>
              <a:gd name="connsiteX18" fmla="*/ 911 w 9997"/>
              <a:gd name="connsiteY18" fmla="*/ 8307 h 9684"/>
              <a:gd name="connsiteX19" fmla="*/ 950 w 9997"/>
              <a:gd name="connsiteY19" fmla="*/ 8500 h 9684"/>
              <a:gd name="connsiteX20" fmla="*/ 985 w 9997"/>
              <a:gd name="connsiteY20" fmla="*/ 8706 h 9684"/>
              <a:gd name="connsiteX21" fmla="*/ 1018 w 9997"/>
              <a:gd name="connsiteY21" fmla="*/ 8938 h 9684"/>
              <a:gd name="connsiteX22" fmla="*/ 1050 w 9997"/>
              <a:gd name="connsiteY22" fmla="*/ 9169 h 9684"/>
              <a:gd name="connsiteX23" fmla="*/ 1077 w 9997"/>
              <a:gd name="connsiteY23" fmla="*/ 9427 h 9684"/>
              <a:gd name="connsiteX24" fmla="*/ 1104 w 9997"/>
              <a:gd name="connsiteY24" fmla="*/ 9684 h 9684"/>
              <a:gd name="connsiteX25" fmla="*/ 1104 w 9997"/>
              <a:gd name="connsiteY25" fmla="*/ 9684 h 9684"/>
              <a:gd name="connsiteX26" fmla="*/ 1116 w 9997"/>
              <a:gd name="connsiteY26" fmla="*/ 9568 h 9684"/>
              <a:gd name="connsiteX27" fmla="*/ 1134 w 9997"/>
              <a:gd name="connsiteY27" fmla="*/ 9427 h 9684"/>
              <a:gd name="connsiteX28" fmla="*/ 1160 w 9997"/>
              <a:gd name="connsiteY28" fmla="*/ 9246 h 9684"/>
              <a:gd name="connsiteX29" fmla="*/ 1193 w 9997"/>
              <a:gd name="connsiteY29" fmla="*/ 9028 h 9684"/>
              <a:gd name="connsiteX30" fmla="*/ 1234 w 9997"/>
              <a:gd name="connsiteY30" fmla="*/ 8796 h 9684"/>
              <a:gd name="connsiteX31" fmla="*/ 1285 w 9997"/>
              <a:gd name="connsiteY31" fmla="*/ 8526 h 9684"/>
              <a:gd name="connsiteX32" fmla="*/ 1341 w 9997"/>
              <a:gd name="connsiteY32" fmla="*/ 8255 h 9684"/>
              <a:gd name="connsiteX33" fmla="*/ 1407 w 9997"/>
              <a:gd name="connsiteY33" fmla="*/ 7985 h 9684"/>
              <a:gd name="connsiteX34" fmla="*/ 1445 w 9997"/>
              <a:gd name="connsiteY34" fmla="*/ 7844 h 9684"/>
              <a:gd name="connsiteX35" fmla="*/ 1484 w 9997"/>
              <a:gd name="connsiteY35" fmla="*/ 7715 h 9684"/>
              <a:gd name="connsiteX36" fmla="*/ 1522 w 9997"/>
              <a:gd name="connsiteY36" fmla="*/ 7586 h 9684"/>
              <a:gd name="connsiteX37" fmla="*/ 1567 w 9997"/>
              <a:gd name="connsiteY37" fmla="*/ 7457 h 9684"/>
              <a:gd name="connsiteX38" fmla="*/ 1611 w 9997"/>
              <a:gd name="connsiteY38" fmla="*/ 7329 h 9684"/>
              <a:gd name="connsiteX39" fmla="*/ 1662 w 9997"/>
              <a:gd name="connsiteY39" fmla="*/ 7213 h 9684"/>
              <a:gd name="connsiteX40" fmla="*/ 1709 w 9997"/>
              <a:gd name="connsiteY40" fmla="*/ 7097 h 9684"/>
              <a:gd name="connsiteX41" fmla="*/ 1763 w 9997"/>
              <a:gd name="connsiteY41" fmla="*/ 6994 h 9684"/>
              <a:gd name="connsiteX42" fmla="*/ 1819 w 9997"/>
              <a:gd name="connsiteY42" fmla="*/ 6904 h 9684"/>
              <a:gd name="connsiteX43" fmla="*/ 1875 w 9997"/>
              <a:gd name="connsiteY43" fmla="*/ 6814 h 9684"/>
              <a:gd name="connsiteX44" fmla="*/ 1935 w 9997"/>
              <a:gd name="connsiteY44" fmla="*/ 6750 h 9684"/>
              <a:gd name="connsiteX45" fmla="*/ 2000 w 9997"/>
              <a:gd name="connsiteY45" fmla="*/ 6685 h 9684"/>
              <a:gd name="connsiteX46" fmla="*/ 2065 w 9997"/>
              <a:gd name="connsiteY46" fmla="*/ 6634 h 9684"/>
              <a:gd name="connsiteX47" fmla="*/ 2131 w 9997"/>
              <a:gd name="connsiteY47" fmla="*/ 6595 h 9684"/>
              <a:gd name="connsiteX48" fmla="*/ 9015 w 9997"/>
              <a:gd name="connsiteY48" fmla="*/ 6595 h 9684"/>
              <a:gd name="connsiteX49" fmla="*/ 9015 w 9997"/>
              <a:gd name="connsiteY49" fmla="*/ 6595 h 9684"/>
              <a:gd name="connsiteX50" fmla="*/ 9042 w 9997"/>
              <a:gd name="connsiteY50" fmla="*/ 6595 h 9684"/>
              <a:gd name="connsiteX51" fmla="*/ 9074 w 9997"/>
              <a:gd name="connsiteY51" fmla="*/ 6595 h 9684"/>
              <a:gd name="connsiteX52" fmla="*/ 9113 w 9997"/>
              <a:gd name="connsiteY52" fmla="*/ 6582 h 9684"/>
              <a:gd name="connsiteX53" fmla="*/ 9166 w 9997"/>
              <a:gd name="connsiteY53" fmla="*/ 6557 h 9684"/>
              <a:gd name="connsiteX54" fmla="*/ 9223 w 9997"/>
              <a:gd name="connsiteY54" fmla="*/ 6505 h 9684"/>
              <a:gd name="connsiteX55" fmla="*/ 9288 w 9997"/>
              <a:gd name="connsiteY55" fmla="*/ 6441 h 9684"/>
              <a:gd name="connsiteX56" fmla="*/ 9359 w 9997"/>
              <a:gd name="connsiteY56" fmla="*/ 6338 h 9684"/>
              <a:gd name="connsiteX57" fmla="*/ 9436 w 9997"/>
              <a:gd name="connsiteY57" fmla="*/ 6196 h 9684"/>
              <a:gd name="connsiteX58" fmla="*/ 9475 w 9997"/>
              <a:gd name="connsiteY58" fmla="*/ 6106 h 9684"/>
              <a:gd name="connsiteX59" fmla="*/ 9513 w 9997"/>
              <a:gd name="connsiteY59" fmla="*/ 6016 h 9684"/>
              <a:gd name="connsiteX60" fmla="*/ 9555 w 9997"/>
              <a:gd name="connsiteY60" fmla="*/ 5913 h 9684"/>
              <a:gd name="connsiteX61" fmla="*/ 9596 w 9997"/>
              <a:gd name="connsiteY61" fmla="*/ 5797 h 9684"/>
              <a:gd name="connsiteX62" fmla="*/ 9638 w 9997"/>
              <a:gd name="connsiteY62" fmla="*/ 5669 h 9684"/>
              <a:gd name="connsiteX63" fmla="*/ 9680 w 9997"/>
              <a:gd name="connsiteY63" fmla="*/ 5527 h 9684"/>
              <a:gd name="connsiteX64" fmla="*/ 9721 w 9997"/>
              <a:gd name="connsiteY64" fmla="*/ 5373 h 9684"/>
              <a:gd name="connsiteX65" fmla="*/ 9760 w 9997"/>
              <a:gd name="connsiteY65" fmla="*/ 5205 h 9684"/>
              <a:gd name="connsiteX66" fmla="*/ 9801 w 9997"/>
              <a:gd name="connsiteY66" fmla="*/ 5012 h 9684"/>
              <a:gd name="connsiteX67" fmla="*/ 9843 w 9997"/>
              <a:gd name="connsiteY67" fmla="*/ 4819 h 9684"/>
              <a:gd name="connsiteX68" fmla="*/ 9881 w 9997"/>
              <a:gd name="connsiteY68" fmla="*/ 4600 h 9684"/>
              <a:gd name="connsiteX69" fmla="*/ 9920 w 9997"/>
              <a:gd name="connsiteY69" fmla="*/ 4369 h 9684"/>
              <a:gd name="connsiteX70" fmla="*/ 9958 w 9997"/>
              <a:gd name="connsiteY70" fmla="*/ 4124 h 9684"/>
              <a:gd name="connsiteX71" fmla="*/ 9997 w 9997"/>
              <a:gd name="connsiteY71" fmla="*/ 3854 h 9684"/>
              <a:gd name="connsiteX72" fmla="*/ 9736 w 9997"/>
              <a:gd name="connsiteY72" fmla="*/ 0 h 9684"/>
              <a:gd name="connsiteX73" fmla="*/ 0 w 9997"/>
              <a:gd name="connsiteY73" fmla="*/ 0 h 9684"/>
              <a:gd name="connsiteX0" fmla="*/ 0 w 10006"/>
              <a:gd name="connsiteY0" fmla="*/ 0 h 10000"/>
              <a:gd name="connsiteX1" fmla="*/ 3 w 10006"/>
              <a:gd name="connsiteY1" fmla="*/ 6704 h 10000"/>
              <a:gd name="connsiteX2" fmla="*/ 3 w 10006"/>
              <a:gd name="connsiteY2" fmla="*/ 6704 h 10000"/>
              <a:gd name="connsiteX3" fmla="*/ 42 w 10006"/>
              <a:gd name="connsiteY3" fmla="*/ 6731 h 10000"/>
              <a:gd name="connsiteX4" fmla="*/ 83 w 10006"/>
              <a:gd name="connsiteY4" fmla="*/ 6758 h 10000"/>
              <a:gd name="connsiteX5" fmla="*/ 139 w 10006"/>
              <a:gd name="connsiteY5" fmla="*/ 6797 h 10000"/>
              <a:gd name="connsiteX6" fmla="*/ 208 w 10006"/>
              <a:gd name="connsiteY6" fmla="*/ 6864 h 10000"/>
              <a:gd name="connsiteX7" fmla="*/ 285 w 10006"/>
              <a:gd name="connsiteY7" fmla="*/ 6957 h 10000"/>
              <a:gd name="connsiteX8" fmla="*/ 371 w 10006"/>
              <a:gd name="connsiteY8" fmla="*/ 7077 h 10000"/>
              <a:gd name="connsiteX9" fmla="*/ 460 w 10006"/>
              <a:gd name="connsiteY9" fmla="*/ 7222 h 10000"/>
              <a:gd name="connsiteX10" fmla="*/ 555 w 10006"/>
              <a:gd name="connsiteY10" fmla="*/ 7408 h 10000"/>
              <a:gd name="connsiteX11" fmla="*/ 599 w 10006"/>
              <a:gd name="connsiteY11" fmla="*/ 7514 h 10000"/>
              <a:gd name="connsiteX12" fmla="*/ 647 w 10006"/>
              <a:gd name="connsiteY12" fmla="*/ 7634 h 10000"/>
              <a:gd name="connsiteX13" fmla="*/ 694 w 10006"/>
              <a:gd name="connsiteY13" fmla="*/ 7767 h 10000"/>
              <a:gd name="connsiteX14" fmla="*/ 739 w 10006"/>
              <a:gd name="connsiteY14" fmla="*/ 7901 h 10000"/>
              <a:gd name="connsiteX15" fmla="*/ 783 w 10006"/>
              <a:gd name="connsiteY15" fmla="*/ 8060 h 10000"/>
              <a:gd name="connsiteX16" fmla="*/ 828 w 10006"/>
              <a:gd name="connsiteY16" fmla="*/ 8219 h 10000"/>
              <a:gd name="connsiteX17" fmla="*/ 869 w 10006"/>
              <a:gd name="connsiteY17" fmla="*/ 8392 h 10000"/>
              <a:gd name="connsiteX18" fmla="*/ 911 w 10006"/>
              <a:gd name="connsiteY18" fmla="*/ 8578 h 10000"/>
              <a:gd name="connsiteX19" fmla="*/ 950 w 10006"/>
              <a:gd name="connsiteY19" fmla="*/ 8777 h 10000"/>
              <a:gd name="connsiteX20" fmla="*/ 985 w 10006"/>
              <a:gd name="connsiteY20" fmla="*/ 8990 h 10000"/>
              <a:gd name="connsiteX21" fmla="*/ 1018 w 10006"/>
              <a:gd name="connsiteY21" fmla="*/ 9230 h 10000"/>
              <a:gd name="connsiteX22" fmla="*/ 1050 w 10006"/>
              <a:gd name="connsiteY22" fmla="*/ 9468 h 10000"/>
              <a:gd name="connsiteX23" fmla="*/ 1077 w 10006"/>
              <a:gd name="connsiteY23" fmla="*/ 9735 h 10000"/>
              <a:gd name="connsiteX24" fmla="*/ 1104 w 10006"/>
              <a:gd name="connsiteY24" fmla="*/ 10000 h 10000"/>
              <a:gd name="connsiteX25" fmla="*/ 1104 w 10006"/>
              <a:gd name="connsiteY25" fmla="*/ 10000 h 10000"/>
              <a:gd name="connsiteX26" fmla="*/ 1116 w 10006"/>
              <a:gd name="connsiteY26" fmla="*/ 9880 h 10000"/>
              <a:gd name="connsiteX27" fmla="*/ 1134 w 10006"/>
              <a:gd name="connsiteY27" fmla="*/ 9735 h 10000"/>
              <a:gd name="connsiteX28" fmla="*/ 1160 w 10006"/>
              <a:gd name="connsiteY28" fmla="*/ 9548 h 10000"/>
              <a:gd name="connsiteX29" fmla="*/ 1193 w 10006"/>
              <a:gd name="connsiteY29" fmla="*/ 9323 h 10000"/>
              <a:gd name="connsiteX30" fmla="*/ 1234 w 10006"/>
              <a:gd name="connsiteY30" fmla="*/ 9083 h 10000"/>
              <a:gd name="connsiteX31" fmla="*/ 1285 w 10006"/>
              <a:gd name="connsiteY31" fmla="*/ 8804 h 10000"/>
              <a:gd name="connsiteX32" fmla="*/ 1341 w 10006"/>
              <a:gd name="connsiteY32" fmla="*/ 8524 h 10000"/>
              <a:gd name="connsiteX33" fmla="*/ 1407 w 10006"/>
              <a:gd name="connsiteY33" fmla="*/ 8246 h 10000"/>
              <a:gd name="connsiteX34" fmla="*/ 1445 w 10006"/>
              <a:gd name="connsiteY34" fmla="*/ 8100 h 10000"/>
              <a:gd name="connsiteX35" fmla="*/ 1484 w 10006"/>
              <a:gd name="connsiteY35" fmla="*/ 7967 h 10000"/>
              <a:gd name="connsiteX36" fmla="*/ 1522 w 10006"/>
              <a:gd name="connsiteY36" fmla="*/ 7834 h 10000"/>
              <a:gd name="connsiteX37" fmla="*/ 1567 w 10006"/>
              <a:gd name="connsiteY37" fmla="*/ 7700 h 10000"/>
              <a:gd name="connsiteX38" fmla="*/ 1611 w 10006"/>
              <a:gd name="connsiteY38" fmla="*/ 7568 h 10000"/>
              <a:gd name="connsiteX39" fmla="*/ 1662 w 10006"/>
              <a:gd name="connsiteY39" fmla="*/ 7448 h 10000"/>
              <a:gd name="connsiteX40" fmla="*/ 1710 w 10006"/>
              <a:gd name="connsiteY40" fmla="*/ 7329 h 10000"/>
              <a:gd name="connsiteX41" fmla="*/ 1764 w 10006"/>
              <a:gd name="connsiteY41" fmla="*/ 7222 h 10000"/>
              <a:gd name="connsiteX42" fmla="*/ 1820 w 10006"/>
              <a:gd name="connsiteY42" fmla="*/ 7129 h 10000"/>
              <a:gd name="connsiteX43" fmla="*/ 1876 w 10006"/>
              <a:gd name="connsiteY43" fmla="*/ 7036 h 10000"/>
              <a:gd name="connsiteX44" fmla="*/ 1936 w 10006"/>
              <a:gd name="connsiteY44" fmla="*/ 6970 h 10000"/>
              <a:gd name="connsiteX45" fmla="*/ 2001 w 10006"/>
              <a:gd name="connsiteY45" fmla="*/ 6903 h 10000"/>
              <a:gd name="connsiteX46" fmla="*/ 2066 w 10006"/>
              <a:gd name="connsiteY46" fmla="*/ 6850 h 10000"/>
              <a:gd name="connsiteX47" fmla="*/ 2132 w 10006"/>
              <a:gd name="connsiteY47" fmla="*/ 6810 h 10000"/>
              <a:gd name="connsiteX48" fmla="*/ 9018 w 10006"/>
              <a:gd name="connsiteY48" fmla="*/ 6810 h 10000"/>
              <a:gd name="connsiteX49" fmla="*/ 9018 w 10006"/>
              <a:gd name="connsiteY49" fmla="*/ 6810 h 10000"/>
              <a:gd name="connsiteX50" fmla="*/ 9045 w 10006"/>
              <a:gd name="connsiteY50" fmla="*/ 6810 h 10000"/>
              <a:gd name="connsiteX51" fmla="*/ 9077 w 10006"/>
              <a:gd name="connsiteY51" fmla="*/ 6810 h 10000"/>
              <a:gd name="connsiteX52" fmla="*/ 9116 w 10006"/>
              <a:gd name="connsiteY52" fmla="*/ 6797 h 10000"/>
              <a:gd name="connsiteX53" fmla="*/ 9169 w 10006"/>
              <a:gd name="connsiteY53" fmla="*/ 6771 h 10000"/>
              <a:gd name="connsiteX54" fmla="*/ 9226 w 10006"/>
              <a:gd name="connsiteY54" fmla="*/ 6717 h 10000"/>
              <a:gd name="connsiteX55" fmla="*/ 9291 w 10006"/>
              <a:gd name="connsiteY55" fmla="*/ 6651 h 10000"/>
              <a:gd name="connsiteX56" fmla="*/ 9362 w 10006"/>
              <a:gd name="connsiteY56" fmla="*/ 6545 h 10000"/>
              <a:gd name="connsiteX57" fmla="*/ 9439 w 10006"/>
              <a:gd name="connsiteY57" fmla="*/ 6398 h 10000"/>
              <a:gd name="connsiteX58" fmla="*/ 9478 w 10006"/>
              <a:gd name="connsiteY58" fmla="*/ 6305 h 10000"/>
              <a:gd name="connsiteX59" fmla="*/ 9516 w 10006"/>
              <a:gd name="connsiteY59" fmla="*/ 6212 h 10000"/>
              <a:gd name="connsiteX60" fmla="*/ 9558 w 10006"/>
              <a:gd name="connsiteY60" fmla="*/ 6106 h 10000"/>
              <a:gd name="connsiteX61" fmla="*/ 9599 w 10006"/>
              <a:gd name="connsiteY61" fmla="*/ 5986 h 10000"/>
              <a:gd name="connsiteX62" fmla="*/ 9641 w 10006"/>
              <a:gd name="connsiteY62" fmla="*/ 5854 h 10000"/>
              <a:gd name="connsiteX63" fmla="*/ 9683 w 10006"/>
              <a:gd name="connsiteY63" fmla="*/ 5707 h 10000"/>
              <a:gd name="connsiteX64" fmla="*/ 9724 w 10006"/>
              <a:gd name="connsiteY64" fmla="*/ 5548 h 10000"/>
              <a:gd name="connsiteX65" fmla="*/ 9763 w 10006"/>
              <a:gd name="connsiteY65" fmla="*/ 5375 h 10000"/>
              <a:gd name="connsiteX66" fmla="*/ 9804 w 10006"/>
              <a:gd name="connsiteY66" fmla="*/ 5176 h 10000"/>
              <a:gd name="connsiteX67" fmla="*/ 9846 w 10006"/>
              <a:gd name="connsiteY67" fmla="*/ 4976 h 10000"/>
              <a:gd name="connsiteX68" fmla="*/ 9884 w 10006"/>
              <a:gd name="connsiteY68" fmla="*/ 4750 h 10000"/>
              <a:gd name="connsiteX69" fmla="*/ 9923 w 10006"/>
              <a:gd name="connsiteY69" fmla="*/ 4512 h 10000"/>
              <a:gd name="connsiteX70" fmla="*/ 9961 w 10006"/>
              <a:gd name="connsiteY70" fmla="*/ 4259 h 10000"/>
              <a:gd name="connsiteX71" fmla="*/ 10000 w 10006"/>
              <a:gd name="connsiteY71" fmla="*/ 3980 h 10000"/>
              <a:gd name="connsiteX72" fmla="*/ 10006 w 10006"/>
              <a:gd name="connsiteY72" fmla="*/ 0 h 10000"/>
              <a:gd name="connsiteX73" fmla="*/ 0 w 10006"/>
              <a:gd name="connsiteY73" fmla="*/ 0 h 10000"/>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943 h 10943"/>
              <a:gd name="connsiteX73" fmla="*/ 0 w 10006"/>
              <a:gd name="connsiteY73" fmla="*/ 0 h 10943"/>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0 h 10943"/>
              <a:gd name="connsiteX0" fmla="*/ 387 w 10004"/>
              <a:gd name="connsiteY0" fmla="*/ 2031 h 10943"/>
              <a:gd name="connsiteX1" fmla="*/ 1 w 10004"/>
              <a:gd name="connsiteY1" fmla="*/ 7647 h 10943"/>
              <a:gd name="connsiteX2" fmla="*/ 1 w 10004"/>
              <a:gd name="connsiteY2" fmla="*/ 7647 h 10943"/>
              <a:gd name="connsiteX3" fmla="*/ 40 w 10004"/>
              <a:gd name="connsiteY3" fmla="*/ 7674 h 10943"/>
              <a:gd name="connsiteX4" fmla="*/ 81 w 10004"/>
              <a:gd name="connsiteY4" fmla="*/ 7701 h 10943"/>
              <a:gd name="connsiteX5" fmla="*/ 137 w 10004"/>
              <a:gd name="connsiteY5" fmla="*/ 7740 h 10943"/>
              <a:gd name="connsiteX6" fmla="*/ 206 w 10004"/>
              <a:gd name="connsiteY6" fmla="*/ 7807 h 10943"/>
              <a:gd name="connsiteX7" fmla="*/ 283 w 10004"/>
              <a:gd name="connsiteY7" fmla="*/ 7900 h 10943"/>
              <a:gd name="connsiteX8" fmla="*/ 369 w 10004"/>
              <a:gd name="connsiteY8" fmla="*/ 8020 h 10943"/>
              <a:gd name="connsiteX9" fmla="*/ 458 w 10004"/>
              <a:gd name="connsiteY9" fmla="*/ 8165 h 10943"/>
              <a:gd name="connsiteX10" fmla="*/ 553 w 10004"/>
              <a:gd name="connsiteY10" fmla="*/ 8351 h 10943"/>
              <a:gd name="connsiteX11" fmla="*/ 597 w 10004"/>
              <a:gd name="connsiteY11" fmla="*/ 8457 h 10943"/>
              <a:gd name="connsiteX12" fmla="*/ 645 w 10004"/>
              <a:gd name="connsiteY12" fmla="*/ 8577 h 10943"/>
              <a:gd name="connsiteX13" fmla="*/ 692 w 10004"/>
              <a:gd name="connsiteY13" fmla="*/ 8710 h 10943"/>
              <a:gd name="connsiteX14" fmla="*/ 737 w 10004"/>
              <a:gd name="connsiteY14" fmla="*/ 8844 h 10943"/>
              <a:gd name="connsiteX15" fmla="*/ 781 w 10004"/>
              <a:gd name="connsiteY15" fmla="*/ 9003 h 10943"/>
              <a:gd name="connsiteX16" fmla="*/ 826 w 10004"/>
              <a:gd name="connsiteY16" fmla="*/ 9162 h 10943"/>
              <a:gd name="connsiteX17" fmla="*/ 867 w 10004"/>
              <a:gd name="connsiteY17" fmla="*/ 9335 h 10943"/>
              <a:gd name="connsiteX18" fmla="*/ 909 w 10004"/>
              <a:gd name="connsiteY18" fmla="*/ 9521 h 10943"/>
              <a:gd name="connsiteX19" fmla="*/ 948 w 10004"/>
              <a:gd name="connsiteY19" fmla="*/ 9720 h 10943"/>
              <a:gd name="connsiteX20" fmla="*/ 983 w 10004"/>
              <a:gd name="connsiteY20" fmla="*/ 9933 h 10943"/>
              <a:gd name="connsiteX21" fmla="*/ 1016 w 10004"/>
              <a:gd name="connsiteY21" fmla="*/ 10173 h 10943"/>
              <a:gd name="connsiteX22" fmla="*/ 1048 w 10004"/>
              <a:gd name="connsiteY22" fmla="*/ 10411 h 10943"/>
              <a:gd name="connsiteX23" fmla="*/ 1075 w 10004"/>
              <a:gd name="connsiteY23" fmla="*/ 10678 h 10943"/>
              <a:gd name="connsiteX24" fmla="*/ 1102 w 10004"/>
              <a:gd name="connsiteY24" fmla="*/ 10943 h 10943"/>
              <a:gd name="connsiteX25" fmla="*/ 1102 w 10004"/>
              <a:gd name="connsiteY25" fmla="*/ 10943 h 10943"/>
              <a:gd name="connsiteX26" fmla="*/ 1114 w 10004"/>
              <a:gd name="connsiteY26" fmla="*/ 10823 h 10943"/>
              <a:gd name="connsiteX27" fmla="*/ 1132 w 10004"/>
              <a:gd name="connsiteY27" fmla="*/ 10678 h 10943"/>
              <a:gd name="connsiteX28" fmla="*/ 1158 w 10004"/>
              <a:gd name="connsiteY28" fmla="*/ 10491 h 10943"/>
              <a:gd name="connsiteX29" fmla="*/ 1191 w 10004"/>
              <a:gd name="connsiteY29" fmla="*/ 10266 h 10943"/>
              <a:gd name="connsiteX30" fmla="*/ 1232 w 10004"/>
              <a:gd name="connsiteY30" fmla="*/ 10026 h 10943"/>
              <a:gd name="connsiteX31" fmla="*/ 1283 w 10004"/>
              <a:gd name="connsiteY31" fmla="*/ 9747 h 10943"/>
              <a:gd name="connsiteX32" fmla="*/ 1339 w 10004"/>
              <a:gd name="connsiteY32" fmla="*/ 9467 h 10943"/>
              <a:gd name="connsiteX33" fmla="*/ 1405 w 10004"/>
              <a:gd name="connsiteY33" fmla="*/ 9189 h 10943"/>
              <a:gd name="connsiteX34" fmla="*/ 1443 w 10004"/>
              <a:gd name="connsiteY34" fmla="*/ 9043 h 10943"/>
              <a:gd name="connsiteX35" fmla="*/ 1482 w 10004"/>
              <a:gd name="connsiteY35" fmla="*/ 8910 h 10943"/>
              <a:gd name="connsiteX36" fmla="*/ 1520 w 10004"/>
              <a:gd name="connsiteY36" fmla="*/ 8777 h 10943"/>
              <a:gd name="connsiteX37" fmla="*/ 1565 w 10004"/>
              <a:gd name="connsiteY37" fmla="*/ 8643 h 10943"/>
              <a:gd name="connsiteX38" fmla="*/ 1609 w 10004"/>
              <a:gd name="connsiteY38" fmla="*/ 8511 h 10943"/>
              <a:gd name="connsiteX39" fmla="*/ 1660 w 10004"/>
              <a:gd name="connsiteY39" fmla="*/ 8391 h 10943"/>
              <a:gd name="connsiteX40" fmla="*/ 1708 w 10004"/>
              <a:gd name="connsiteY40" fmla="*/ 8272 h 10943"/>
              <a:gd name="connsiteX41" fmla="*/ 1762 w 10004"/>
              <a:gd name="connsiteY41" fmla="*/ 8165 h 10943"/>
              <a:gd name="connsiteX42" fmla="*/ 1818 w 10004"/>
              <a:gd name="connsiteY42" fmla="*/ 8072 h 10943"/>
              <a:gd name="connsiteX43" fmla="*/ 1874 w 10004"/>
              <a:gd name="connsiteY43" fmla="*/ 7979 h 10943"/>
              <a:gd name="connsiteX44" fmla="*/ 1934 w 10004"/>
              <a:gd name="connsiteY44" fmla="*/ 7913 h 10943"/>
              <a:gd name="connsiteX45" fmla="*/ 1999 w 10004"/>
              <a:gd name="connsiteY45" fmla="*/ 7846 h 10943"/>
              <a:gd name="connsiteX46" fmla="*/ 2064 w 10004"/>
              <a:gd name="connsiteY46" fmla="*/ 7793 h 10943"/>
              <a:gd name="connsiteX47" fmla="*/ 2130 w 10004"/>
              <a:gd name="connsiteY47" fmla="*/ 7753 h 10943"/>
              <a:gd name="connsiteX48" fmla="*/ 9016 w 10004"/>
              <a:gd name="connsiteY48" fmla="*/ 7753 h 10943"/>
              <a:gd name="connsiteX49" fmla="*/ 9016 w 10004"/>
              <a:gd name="connsiteY49" fmla="*/ 7753 h 10943"/>
              <a:gd name="connsiteX50" fmla="*/ 9043 w 10004"/>
              <a:gd name="connsiteY50" fmla="*/ 7753 h 10943"/>
              <a:gd name="connsiteX51" fmla="*/ 9075 w 10004"/>
              <a:gd name="connsiteY51" fmla="*/ 7753 h 10943"/>
              <a:gd name="connsiteX52" fmla="*/ 9114 w 10004"/>
              <a:gd name="connsiteY52" fmla="*/ 7740 h 10943"/>
              <a:gd name="connsiteX53" fmla="*/ 9167 w 10004"/>
              <a:gd name="connsiteY53" fmla="*/ 7714 h 10943"/>
              <a:gd name="connsiteX54" fmla="*/ 9224 w 10004"/>
              <a:gd name="connsiteY54" fmla="*/ 7660 h 10943"/>
              <a:gd name="connsiteX55" fmla="*/ 9289 w 10004"/>
              <a:gd name="connsiteY55" fmla="*/ 7594 h 10943"/>
              <a:gd name="connsiteX56" fmla="*/ 9360 w 10004"/>
              <a:gd name="connsiteY56" fmla="*/ 7488 h 10943"/>
              <a:gd name="connsiteX57" fmla="*/ 9437 w 10004"/>
              <a:gd name="connsiteY57" fmla="*/ 7341 h 10943"/>
              <a:gd name="connsiteX58" fmla="*/ 9476 w 10004"/>
              <a:gd name="connsiteY58" fmla="*/ 7248 h 10943"/>
              <a:gd name="connsiteX59" fmla="*/ 9514 w 10004"/>
              <a:gd name="connsiteY59" fmla="*/ 7155 h 10943"/>
              <a:gd name="connsiteX60" fmla="*/ 9556 w 10004"/>
              <a:gd name="connsiteY60" fmla="*/ 7049 h 10943"/>
              <a:gd name="connsiteX61" fmla="*/ 9597 w 10004"/>
              <a:gd name="connsiteY61" fmla="*/ 6929 h 10943"/>
              <a:gd name="connsiteX62" fmla="*/ 9639 w 10004"/>
              <a:gd name="connsiteY62" fmla="*/ 6797 h 10943"/>
              <a:gd name="connsiteX63" fmla="*/ 9681 w 10004"/>
              <a:gd name="connsiteY63" fmla="*/ 6650 h 10943"/>
              <a:gd name="connsiteX64" fmla="*/ 9722 w 10004"/>
              <a:gd name="connsiteY64" fmla="*/ 6491 h 10943"/>
              <a:gd name="connsiteX65" fmla="*/ 9761 w 10004"/>
              <a:gd name="connsiteY65" fmla="*/ 6318 h 10943"/>
              <a:gd name="connsiteX66" fmla="*/ 9802 w 10004"/>
              <a:gd name="connsiteY66" fmla="*/ 6119 h 10943"/>
              <a:gd name="connsiteX67" fmla="*/ 9844 w 10004"/>
              <a:gd name="connsiteY67" fmla="*/ 5919 h 10943"/>
              <a:gd name="connsiteX68" fmla="*/ 9882 w 10004"/>
              <a:gd name="connsiteY68" fmla="*/ 5693 h 10943"/>
              <a:gd name="connsiteX69" fmla="*/ 9921 w 10004"/>
              <a:gd name="connsiteY69" fmla="*/ 5455 h 10943"/>
              <a:gd name="connsiteX70" fmla="*/ 9959 w 10004"/>
              <a:gd name="connsiteY70" fmla="*/ 5202 h 10943"/>
              <a:gd name="connsiteX71" fmla="*/ 9998 w 10004"/>
              <a:gd name="connsiteY71" fmla="*/ 4923 h 10943"/>
              <a:gd name="connsiteX72" fmla="*/ 10004 w 10004"/>
              <a:gd name="connsiteY72" fmla="*/ 0 h 10943"/>
              <a:gd name="connsiteX73" fmla="*/ 387 w 10004"/>
              <a:gd name="connsiteY73" fmla="*/ 2031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2"/>
              <a:gd name="connsiteY0" fmla="*/ 0 h 10508"/>
              <a:gd name="connsiteX1" fmla="*/ 3 w 10002"/>
              <a:gd name="connsiteY1" fmla="*/ 7212 h 10508"/>
              <a:gd name="connsiteX2" fmla="*/ 3 w 10002"/>
              <a:gd name="connsiteY2" fmla="*/ 7212 h 10508"/>
              <a:gd name="connsiteX3" fmla="*/ 42 w 10002"/>
              <a:gd name="connsiteY3" fmla="*/ 7239 h 10508"/>
              <a:gd name="connsiteX4" fmla="*/ 83 w 10002"/>
              <a:gd name="connsiteY4" fmla="*/ 7266 h 10508"/>
              <a:gd name="connsiteX5" fmla="*/ 139 w 10002"/>
              <a:gd name="connsiteY5" fmla="*/ 7305 h 10508"/>
              <a:gd name="connsiteX6" fmla="*/ 208 w 10002"/>
              <a:gd name="connsiteY6" fmla="*/ 7372 h 10508"/>
              <a:gd name="connsiteX7" fmla="*/ 285 w 10002"/>
              <a:gd name="connsiteY7" fmla="*/ 7465 h 10508"/>
              <a:gd name="connsiteX8" fmla="*/ 371 w 10002"/>
              <a:gd name="connsiteY8" fmla="*/ 7585 h 10508"/>
              <a:gd name="connsiteX9" fmla="*/ 460 w 10002"/>
              <a:gd name="connsiteY9" fmla="*/ 7730 h 10508"/>
              <a:gd name="connsiteX10" fmla="*/ 555 w 10002"/>
              <a:gd name="connsiteY10" fmla="*/ 7916 h 10508"/>
              <a:gd name="connsiteX11" fmla="*/ 599 w 10002"/>
              <a:gd name="connsiteY11" fmla="*/ 8022 h 10508"/>
              <a:gd name="connsiteX12" fmla="*/ 647 w 10002"/>
              <a:gd name="connsiteY12" fmla="*/ 8142 h 10508"/>
              <a:gd name="connsiteX13" fmla="*/ 694 w 10002"/>
              <a:gd name="connsiteY13" fmla="*/ 8275 h 10508"/>
              <a:gd name="connsiteX14" fmla="*/ 739 w 10002"/>
              <a:gd name="connsiteY14" fmla="*/ 8409 h 10508"/>
              <a:gd name="connsiteX15" fmla="*/ 783 w 10002"/>
              <a:gd name="connsiteY15" fmla="*/ 8568 h 10508"/>
              <a:gd name="connsiteX16" fmla="*/ 828 w 10002"/>
              <a:gd name="connsiteY16" fmla="*/ 8727 h 10508"/>
              <a:gd name="connsiteX17" fmla="*/ 869 w 10002"/>
              <a:gd name="connsiteY17" fmla="*/ 8900 h 10508"/>
              <a:gd name="connsiteX18" fmla="*/ 911 w 10002"/>
              <a:gd name="connsiteY18" fmla="*/ 9086 h 10508"/>
              <a:gd name="connsiteX19" fmla="*/ 950 w 10002"/>
              <a:gd name="connsiteY19" fmla="*/ 9285 h 10508"/>
              <a:gd name="connsiteX20" fmla="*/ 985 w 10002"/>
              <a:gd name="connsiteY20" fmla="*/ 9498 h 10508"/>
              <a:gd name="connsiteX21" fmla="*/ 1018 w 10002"/>
              <a:gd name="connsiteY21" fmla="*/ 9738 h 10508"/>
              <a:gd name="connsiteX22" fmla="*/ 1050 w 10002"/>
              <a:gd name="connsiteY22" fmla="*/ 9976 h 10508"/>
              <a:gd name="connsiteX23" fmla="*/ 1077 w 10002"/>
              <a:gd name="connsiteY23" fmla="*/ 10243 h 10508"/>
              <a:gd name="connsiteX24" fmla="*/ 1104 w 10002"/>
              <a:gd name="connsiteY24" fmla="*/ 10508 h 10508"/>
              <a:gd name="connsiteX25" fmla="*/ 1104 w 10002"/>
              <a:gd name="connsiteY25" fmla="*/ 10508 h 10508"/>
              <a:gd name="connsiteX26" fmla="*/ 1116 w 10002"/>
              <a:gd name="connsiteY26" fmla="*/ 10388 h 10508"/>
              <a:gd name="connsiteX27" fmla="*/ 1134 w 10002"/>
              <a:gd name="connsiteY27" fmla="*/ 10243 h 10508"/>
              <a:gd name="connsiteX28" fmla="*/ 1160 w 10002"/>
              <a:gd name="connsiteY28" fmla="*/ 10056 h 10508"/>
              <a:gd name="connsiteX29" fmla="*/ 1193 w 10002"/>
              <a:gd name="connsiteY29" fmla="*/ 9831 h 10508"/>
              <a:gd name="connsiteX30" fmla="*/ 1234 w 10002"/>
              <a:gd name="connsiteY30" fmla="*/ 9591 h 10508"/>
              <a:gd name="connsiteX31" fmla="*/ 1285 w 10002"/>
              <a:gd name="connsiteY31" fmla="*/ 9312 h 10508"/>
              <a:gd name="connsiteX32" fmla="*/ 1341 w 10002"/>
              <a:gd name="connsiteY32" fmla="*/ 9032 h 10508"/>
              <a:gd name="connsiteX33" fmla="*/ 1407 w 10002"/>
              <a:gd name="connsiteY33" fmla="*/ 8754 h 10508"/>
              <a:gd name="connsiteX34" fmla="*/ 1445 w 10002"/>
              <a:gd name="connsiteY34" fmla="*/ 8608 h 10508"/>
              <a:gd name="connsiteX35" fmla="*/ 1484 w 10002"/>
              <a:gd name="connsiteY35" fmla="*/ 8475 h 10508"/>
              <a:gd name="connsiteX36" fmla="*/ 1522 w 10002"/>
              <a:gd name="connsiteY36" fmla="*/ 8342 h 10508"/>
              <a:gd name="connsiteX37" fmla="*/ 1567 w 10002"/>
              <a:gd name="connsiteY37" fmla="*/ 8208 h 10508"/>
              <a:gd name="connsiteX38" fmla="*/ 1611 w 10002"/>
              <a:gd name="connsiteY38" fmla="*/ 8076 h 10508"/>
              <a:gd name="connsiteX39" fmla="*/ 1662 w 10002"/>
              <a:gd name="connsiteY39" fmla="*/ 7956 h 10508"/>
              <a:gd name="connsiteX40" fmla="*/ 1710 w 10002"/>
              <a:gd name="connsiteY40" fmla="*/ 7837 h 10508"/>
              <a:gd name="connsiteX41" fmla="*/ 1764 w 10002"/>
              <a:gd name="connsiteY41" fmla="*/ 7730 h 10508"/>
              <a:gd name="connsiteX42" fmla="*/ 1820 w 10002"/>
              <a:gd name="connsiteY42" fmla="*/ 7637 h 10508"/>
              <a:gd name="connsiteX43" fmla="*/ 1876 w 10002"/>
              <a:gd name="connsiteY43" fmla="*/ 7544 h 10508"/>
              <a:gd name="connsiteX44" fmla="*/ 1936 w 10002"/>
              <a:gd name="connsiteY44" fmla="*/ 7478 h 10508"/>
              <a:gd name="connsiteX45" fmla="*/ 2001 w 10002"/>
              <a:gd name="connsiteY45" fmla="*/ 7411 h 10508"/>
              <a:gd name="connsiteX46" fmla="*/ 2066 w 10002"/>
              <a:gd name="connsiteY46" fmla="*/ 7358 h 10508"/>
              <a:gd name="connsiteX47" fmla="*/ 2132 w 10002"/>
              <a:gd name="connsiteY47" fmla="*/ 7318 h 10508"/>
              <a:gd name="connsiteX48" fmla="*/ 9018 w 10002"/>
              <a:gd name="connsiteY48" fmla="*/ 7318 h 10508"/>
              <a:gd name="connsiteX49" fmla="*/ 9018 w 10002"/>
              <a:gd name="connsiteY49" fmla="*/ 7318 h 10508"/>
              <a:gd name="connsiteX50" fmla="*/ 9045 w 10002"/>
              <a:gd name="connsiteY50" fmla="*/ 7318 h 10508"/>
              <a:gd name="connsiteX51" fmla="*/ 9077 w 10002"/>
              <a:gd name="connsiteY51" fmla="*/ 7318 h 10508"/>
              <a:gd name="connsiteX52" fmla="*/ 9116 w 10002"/>
              <a:gd name="connsiteY52" fmla="*/ 7305 h 10508"/>
              <a:gd name="connsiteX53" fmla="*/ 9169 w 10002"/>
              <a:gd name="connsiteY53" fmla="*/ 7279 h 10508"/>
              <a:gd name="connsiteX54" fmla="*/ 9226 w 10002"/>
              <a:gd name="connsiteY54" fmla="*/ 7225 h 10508"/>
              <a:gd name="connsiteX55" fmla="*/ 9291 w 10002"/>
              <a:gd name="connsiteY55" fmla="*/ 7159 h 10508"/>
              <a:gd name="connsiteX56" fmla="*/ 9362 w 10002"/>
              <a:gd name="connsiteY56" fmla="*/ 7053 h 10508"/>
              <a:gd name="connsiteX57" fmla="*/ 9439 w 10002"/>
              <a:gd name="connsiteY57" fmla="*/ 6906 h 10508"/>
              <a:gd name="connsiteX58" fmla="*/ 9478 w 10002"/>
              <a:gd name="connsiteY58" fmla="*/ 6813 h 10508"/>
              <a:gd name="connsiteX59" fmla="*/ 9516 w 10002"/>
              <a:gd name="connsiteY59" fmla="*/ 6720 h 10508"/>
              <a:gd name="connsiteX60" fmla="*/ 9558 w 10002"/>
              <a:gd name="connsiteY60" fmla="*/ 6614 h 10508"/>
              <a:gd name="connsiteX61" fmla="*/ 9599 w 10002"/>
              <a:gd name="connsiteY61" fmla="*/ 6494 h 10508"/>
              <a:gd name="connsiteX62" fmla="*/ 9641 w 10002"/>
              <a:gd name="connsiteY62" fmla="*/ 6362 h 10508"/>
              <a:gd name="connsiteX63" fmla="*/ 9683 w 10002"/>
              <a:gd name="connsiteY63" fmla="*/ 6215 h 10508"/>
              <a:gd name="connsiteX64" fmla="*/ 9724 w 10002"/>
              <a:gd name="connsiteY64" fmla="*/ 6056 h 10508"/>
              <a:gd name="connsiteX65" fmla="*/ 9763 w 10002"/>
              <a:gd name="connsiteY65" fmla="*/ 5883 h 10508"/>
              <a:gd name="connsiteX66" fmla="*/ 9804 w 10002"/>
              <a:gd name="connsiteY66" fmla="*/ 5684 h 10508"/>
              <a:gd name="connsiteX67" fmla="*/ 9846 w 10002"/>
              <a:gd name="connsiteY67" fmla="*/ 5484 h 10508"/>
              <a:gd name="connsiteX68" fmla="*/ 9884 w 10002"/>
              <a:gd name="connsiteY68" fmla="*/ 5258 h 10508"/>
              <a:gd name="connsiteX69" fmla="*/ 9923 w 10002"/>
              <a:gd name="connsiteY69" fmla="*/ 5020 h 10508"/>
              <a:gd name="connsiteX70" fmla="*/ 9961 w 10002"/>
              <a:gd name="connsiteY70" fmla="*/ 4767 h 10508"/>
              <a:gd name="connsiteX71" fmla="*/ 10000 w 10002"/>
              <a:gd name="connsiteY71" fmla="*/ 4488 h 10508"/>
              <a:gd name="connsiteX72" fmla="*/ 9552 w 10002"/>
              <a:gd name="connsiteY72" fmla="*/ 0 h 10508"/>
              <a:gd name="connsiteX73" fmla="*/ 0 w 10002"/>
              <a:gd name="connsiteY73" fmla="*/ 0 h 10508"/>
              <a:gd name="connsiteX0" fmla="*/ 0 w 10000"/>
              <a:gd name="connsiteY0" fmla="*/ 0 h 10508"/>
              <a:gd name="connsiteX1" fmla="*/ 3 w 10000"/>
              <a:gd name="connsiteY1" fmla="*/ 7212 h 10508"/>
              <a:gd name="connsiteX2" fmla="*/ 3 w 10000"/>
              <a:gd name="connsiteY2" fmla="*/ 7212 h 10508"/>
              <a:gd name="connsiteX3" fmla="*/ 42 w 10000"/>
              <a:gd name="connsiteY3" fmla="*/ 7239 h 10508"/>
              <a:gd name="connsiteX4" fmla="*/ 83 w 10000"/>
              <a:gd name="connsiteY4" fmla="*/ 7266 h 10508"/>
              <a:gd name="connsiteX5" fmla="*/ 139 w 10000"/>
              <a:gd name="connsiteY5" fmla="*/ 7305 h 10508"/>
              <a:gd name="connsiteX6" fmla="*/ 208 w 10000"/>
              <a:gd name="connsiteY6" fmla="*/ 7372 h 10508"/>
              <a:gd name="connsiteX7" fmla="*/ 285 w 10000"/>
              <a:gd name="connsiteY7" fmla="*/ 7465 h 10508"/>
              <a:gd name="connsiteX8" fmla="*/ 371 w 10000"/>
              <a:gd name="connsiteY8" fmla="*/ 7585 h 10508"/>
              <a:gd name="connsiteX9" fmla="*/ 460 w 10000"/>
              <a:gd name="connsiteY9" fmla="*/ 7730 h 10508"/>
              <a:gd name="connsiteX10" fmla="*/ 555 w 10000"/>
              <a:gd name="connsiteY10" fmla="*/ 7916 h 10508"/>
              <a:gd name="connsiteX11" fmla="*/ 599 w 10000"/>
              <a:gd name="connsiteY11" fmla="*/ 8022 h 10508"/>
              <a:gd name="connsiteX12" fmla="*/ 647 w 10000"/>
              <a:gd name="connsiteY12" fmla="*/ 8142 h 10508"/>
              <a:gd name="connsiteX13" fmla="*/ 694 w 10000"/>
              <a:gd name="connsiteY13" fmla="*/ 8275 h 10508"/>
              <a:gd name="connsiteX14" fmla="*/ 739 w 10000"/>
              <a:gd name="connsiteY14" fmla="*/ 8409 h 10508"/>
              <a:gd name="connsiteX15" fmla="*/ 783 w 10000"/>
              <a:gd name="connsiteY15" fmla="*/ 8568 h 10508"/>
              <a:gd name="connsiteX16" fmla="*/ 828 w 10000"/>
              <a:gd name="connsiteY16" fmla="*/ 8727 h 10508"/>
              <a:gd name="connsiteX17" fmla="*/ 869 w 10000"/>
              <a:gd name="connsiteY17" fmla="*/ 8900 h 10508"/>
              <a:gd name="connsiteX18" fmla="*/ 911 w 10000"/>
              <a:gd name="connsiteY18" fmla="*/ 9086 h 10508"/>
              <a:gd name="connsiteX19" fmla="*/ 950 w 10000"/>
              <a:gd name="connsiteY19" fmla="*/ 9285 h 10508"/>
              <a:gd name="connsiteX20" fmla="*/ 985 w 10000"/>
              <a:gd name="connsiteY20" fmla="*/ 9498 h 10508"/>
              <a:gd name="connsiteX21" fmla="*/ 1018 w 10000"/>
              <a:gd name="connsiteY21" fmla="*/ 9738 h 10508"/>
              <a:gd name="connsiteX22" fmla="*/ 1050 w 10000"/>
              <a:gd name="connsiteY22" fmla="*/ 9976 h 10508"/>
              <a:gd name="connsiteX23" fmla="*/ 1077 w 10000"/>
              <a:gd name="connsiteY23" fmla="*/ 10243 h 10508"/>
              <a:gd name="connsiteX24" fmla="*/ 1104 w 10000"/>
              <a:gd name="connsiteY24" fmla="*/ 10508 h 10508"/>
              <a:gd name="connsiteX25" fmla="*/ 1104 w 10000"/>
              <a:gd name="connsiteY25" fmla="*/ 10508 h 10508"/>
              <a:gd name="connsiteX26" fmla="*/ 1116 w 10000"/>
              <a:gd name="connsiteY26" fmla="*/ 10388 h 10508"/>
              <a:gd name="connsiteX27" fmla="*/ 1134 w 10000"/>
              <a:gd name="connsiteY27" fmla="*/ 10243 h 10508"/>
              <a:gd name="connsiteX28" fmla="*/ 1160 w 10000"/>
              <a:gd name="connsiteY28" fmla="*/ 10056 h 10508"/>
              <a:gd name="connsiteX29" fmla="*/ 1193 w 10000"/>
              <a:gd name="connsiteY29" fmla="*/ 9831 h 10508"/>
              <a:gd name="connsiteX30" fmla="*/ 1234 w 10000"/>
              <a:gd name="connsiteY30" fmla="*/ 9591 h 10508"/>
              <a:gd name="connsiteX31" fmla="*/ 1285 w 10000"/>
              <a:gd name="connsiteY31" fmla="*/ 9312 h 10508"/>
              <a:gd name="connsiteX32" fmla="*/ 1341 w 10000"/>
              <a:gd name="connsiteY32" fmla="*/ 9032 h 10508"/>
              <a:gd name="connsiteX33" fmla="*/ 1407 w 10000"/>
              <a:gd name="connsiteY33" fmla="*/ 8754 h 10508"/>
              <a:gd name="connsiteX34" fmla="*/ 1445 w 10000"/>
              <a:gd name="connsiteY34" fmla="*/ 8608 h 10508"/>
              <a:gd name="connsiteX35" fmla="*/ 1484 w 10000"/>
              <a:gd name="connsiteY35" fmla="*/ 8475 h 10508"/>
              <a:gd name="connsiteX36" fmla="*/ 1522 w 10000"/>
              <a:gd name="connsiteY36" fmla="*/ 8342 h 10508"/>
              <a:gd name="connsiteX37" fmla="*/ 1567 w 10000"/>
              <a:gd name="connsiteY37" fmla="*/ 8208 h 10508"/>
              <a:gd name="connsiteX38" fmla="*/ 1611 w 10000"/>
              <a:gd name="connsiteY38" fmla="*/ 8076 h 10508"/>
              <a:gd name="connsiteX39" fmla="*/ 1662 w 10000"/>
              <a:gd name="connsiteY39" fmla="*/ 7956 h 10508"/>
              <a:gd name="connsiteX40" fmla="*/ 1710 w 10000"/>
              <a:gd name="connsiteY40" fmla="*/ 7837 h 10508"/>
              <a:gd name="connsiteX41" fmla="*/ 1764 w 10000"/>
              <a:gd name="connsiteY41" fmla="*/ 7730 h 10508"/>
              <a:gd name="connsiteX42" fmla="*/ 1820 w 10000"/>
              <a:gd name="connsiteY42" fmla="*/ 7637 h 10508"/>
              <a:gd name="connsiteX43" fmla="*/ 1876 w 10000"/>
              <a:gd name="connsiteY43" fmla="*/ 7544 h 10508"/>
              <a:gd name="connsiteX44" fmla="*/ 1936 w 10000"/>
              <a:gd name="connsiteY44" fmla="*/ 7478 h 10508"/>
              <a:gd name="connsiteX45" fmla="*/ 2001 w 10000"/>
              <a:gd name="connsiteY45" fmla="*/ 7411 h 10508"/>
              <a:gd name="connsiteX46" fmla="*/ 2066 w 10000"/>
              <a:gd name="connsiteY46" fmla="*/ 7358 h 10508"/>
              <a:gd name="connsiteX47" fmla="*/ 2132 w 10000"/>
              <a:gd name="connsiteY47" fmla="*/ 7318 h 10508"/>
              <a:gd name="connsiteX48" fmla="*/ 9018 w 10000"/>
              <a:gd name="connsiteY48" fmla="*/ 7318 h 10508"/>
              <a:gd name="connsiteX49" fmla="*/ 9018 w 10000"/>
              <a:gd name="connsiteY49" fmla="*/ 7318 h 10508"/>
              <a:gd name="connsiteX50" fmla="*/ 9045 w 10000"/>
              <a:gd name="connsiteY50" fmla="*/ 7318 h 10508"/>
              <a:gd name="connsiteX51" fmla="*/ 9077 w 10000"/>
              <a:gd name="connsiteY51" fmla="*/ 7318 h 10508"/>
              <a:gd name="connsiteX52" fmla="*/ 9116 w 10000"/>
              <a:gd name="connsiteY52" fmla="*/ 7305 h 10508"/>
              <a:gd name="connsiteX53" fmla="*/ 9169 w 10000"/>
              <a:gd name="connsiteY53" fmla="*/ 7279 h 10508"/>
              <a:gd name="connsiteX54" fmla="*/ 9226 w 10000"/>
              <a:gd name="connsiteY54" fmla="*/ 7225 h 10508"/>
              <a:gd name="connsiteX55" fmla="*/ 9291 w 10000"/>
              <a:gd name="connsiteY55" fmla="*/ 7159 h 10508"/>
              <a:gd name="connsiteX56" fmla="*/ 9362 w 10000"/>
              <a:gd name="connsiteY56" fmla="*/ 7053 h 10508"/>
              <a:gd name="connsiteX57" fmla="*/ 9439 w 10000"/>
              <a:gd name="connsiteY57" fmla="*/ 6906 h 10508"/>
              <a:gd name="connsiteX58" fmla="*/ 9478 w 10000"/>
              <a:gd name="connsiteY58" fmla="*/ 6813 h 10508"/>
              <a:gd name="connsiteX59" fmla="*/ 9516 w 10000"/>
              <a:gd name="connsiteY59" fmla="*/ 6720 h 10508"/>
              <a:gd name="connsiteX60" fmla="*/ 9558 w 10000"/>
              <a:gd name="connsiteY60" fmla="*/ 6614 h 10508"/>
              <a:gd name="connsiteX61" fmla="*/ 9599 w 10000"/>
              <a:gd name="connsiteY61" fmla="*/ 6494 h 10508"/>
              <a:gd name="connsiteX62" fmla="*/ 9641 w 10000"/>
              <a:gd name="connsiteY62" fmla="*/ 6362 h 10508"/>
              <a:gd name="connsiteX63" fmla="*/ 9683 w 10000"/>
              <a:gd name="connsiteY63" fmla="*/ 6215 h 10508"/>
              <a:gd name="connsiteX64" fmla="*/ 9724 w 10000"/>
              <a:gd name="connsiteY64" fmla="*/ 6056 h 10508"/>
              <a:gd name="connsiteX65" fmla="*/ 9763 w 10000"/>
              <a:gd name="connsiteY65" fmla="*/ 5883 h 10508"/>
              <a:gd name="connsiteX66" fmla="*/ 9804 w 10000"/>
              <a:gd name="connsiteY66" fmla="*/ 5684 h 10508"/>
              <a:gd name="connsiteX67" fmla="*/ 9846 w 10000"/>
              <a:gd name="connsiteY67" fmla="*/ 5484 h 10508"/>
              <a:gd name="connsiteX68" fmla="*/ 9884 w 10000"/>
              <a:gd name="connsiteY68" fmla="*/ 5258 h 10508"/>
              <a:gd name="connsiteX69" fmla="*/ 9923 w 10000"/>
              <a:gd name="connsiteY69" fmla="*/ 5020 h 10508"/>
              <a:gd name="connsiteX70" fmla="*/ 9961 w 10000"/>
              <a:gd name="connsiteY70" fmla="*/ 4767 h 10508"/>
              <a:gd name="connsiteX71" fmla="*/ 10000 w 10000"/>
              <a:gd name="connsiteY71" fmla="*/ 4488 h 10508"/>
              <a:gd name="connsiteX72" fmla="*/ 9552 w 10000"/>
              <a:gd name="connsiteY72" fmla="*/ 0 h 10508"/>
              <a:gd name="connsiteX73" fmla="*/ 0 w 10000"/>
              <a:gd name="connsiteY73" fmla="*/ 0 h 10508"/>
              <a:gd name="connsiteX0" fmla="*/ 0 w 10155"/>
              <a:gd name="connsiteY0" fmla="*/ 0 h 10508"/>
              <a:gd name="connsiteX1" fmla="*/ 3 w 10155"/>
              <a:gd name="connsiteY1" fmla="*/ 7212 h 10508"/>
              <a:gd name="connsiteX2" fmla="*/ 3 w 10155"/>
              <a:gd name="connsiteY2" fmla="*/ 7212 h 10508"/>
              <a:gd name="connsiteX3" fmla="*/ 42 w 10155"/>
              <a:gd name="connsiteY3" fmla="*/ 7239 h 10508"/>
              <a:gd name="connsiteX4" fmla="*/ 83 w 10155"/>
              <a:gd name="connsiteY4" fmla="*/ 7266 h 10508"/>
              <a:gd name="connsiteX5" fmla="*/ 139 w 10155"/>
              <a:gd name="connsiteY5" fmla="*/ 7305 h 10508"/>
              <a:gd name="connsiteX6" fmla="*/ 208 w 10155"/>
              <a:gd name="connsiteY6" fmla="*/ 7372 h 10508"/>
              <a:gd name="connsiteX7" fmla="*/ 285 w 10155"/>
              <a:gd name="connsiteY7" fmla="*/ 7465 h 10508"/>
              <a:gd name="connsiteX8" fmla="*/ 371 w 10155"/>
              <a:gd name="connsiteY8" fmla="*/ 7585 h 10508"/>
              <a:gd name="connsiteX9" fmla="*/ 460 w 10155"/>
              <a:gd name="connsiteY9" fmla="*/ 7730 h 10508"/>
              <a:gd name="connsiteX10" fmla="*/ 555 w 10155"/>
              <a:gd name="connsiteY10" fmla="*/ 7916 h 10508"/>
              <a:gd name="connsiteX11" fmla="*/ 599 w 10155"/>
              <a:gd name="connsiteY11" fmla="*/ 8022 h 10508"/>
              <a:gd name="connsiteX12" fmla="*/ 647 w 10155"/>
              <a:gd name="connsiteY12" fmla="*/ 8142 h 10508"/>
              <a:gd name="connsiteX13" fmla="*/ 694 w 10155"/>
              <a:gd name="connsiteY13" fmla="*/ 8275 h 10508"/>
              <a:gd name="connsiteX14" fmla="*/ 739 w 10155"/>
              <a:gd name="connsiteY14" fmla="*/ 8409 h 10508"/>
              <a:gd name="connsiteX15" fmla="*/ 783 w 10155"/>
              <a:gd name="connsiteY15" fmla="*/ 8568 h 10508"/>
              <a:gd name="connsiteX16" fmla="*/ 828 w 10155"/>
              <a:gd name="connsiteY16" fmla="*/ 8727 h 10508"/>
              <a:gd name="connsiteX17" fmla="*/ 869 w 10155"/>
              <a:gd name="connsiteY17" fmla="*/ 8900 h 10508"/>
              <a:gd name="connsiteX18" fmla="*/ 911 w 10155"/>
              <a:gd name="connsiteY18" fmla="*/ 9086 h 10508"/>
              <a:gd name="connsiteX19" fmla="*/ 950 w 10155"/>
              <a:gd name="connsiteY19" fmla="*/ 9285 h 10508"/>
              <a:gd name="connsiteX20" fmla="*/ 985 w 10155"/>
              <a:gd name="connsiteY20" fmla="*/ 9498 h 10508"/>
              <a:gd name="connsiteX21" fmla="*/ 1018 w 10155"/>
              <a:gd name="connsiteY21" fmla="*/ 9738 h 10508"/>
              <a:gd name="connsiteX22" fmla="*/ 1050 w 10155"/>
              <a:gd name="connsiteY22" fmla="*/ 9976 h 10508"/>
              <a:gd name="connsiteX23" fmla="*/ 1077 w 10155"/>
              <a:gd name="connsiteY23" fmla="*/ 10243 h 10508"/>
              <a:gd name="connsiteX24" fmla="*/ 1104 w 10155"/>
              <a:gd name="connsiteY24" fmla="*/ 10508 h 10508"/>
              <a:gd name="connsiteX25" fmla="*/ 1104 w 10155"/>
              <a:gd name="connsiteY25" fmla="*/ 10508 h 10508"/>
              <a:gd name="connsiteX26" fmla="*/ 1116 w 10155"/>
              <a:gd name="connsiteY26" fmla="*/ 10388 h 10508"/>
              <a:gd name="connsiteX27" fmla="*/ 1134 w 10155"/>
              <a:gd name="connsiteY27" fmla="*/ 10243 h 10508"/>
              <a:gd name="connsiteX28" fmla="*/ 1160 w 10155"/>
              <a:gd name="connsiteY28" fmla="*/ 10056 h 10508"/>
              <a:gd name="connsiteX29" fmla="*/ 1193 w 10155"/>
              <a:gd name="connsiteY29" fmla="*/ 9831 h 10508"/>
              <a:gd name="connsiteX30" fmla="*/ 1234 w 10155"/>
              <a:gd name="connsiteY30" fmla="*/ 9591 h 10508"/>
              <a:gd name="connsiteX31" fmla="*/ 1285 w 10155"/>
              <a:gd name="connsiteY31" fmla="*/ 9312 h 10508"/>
              <a:gd name="connsiteX32" fmla="*/ 1341 w 10155"/>
              <a:gd name="connsiteY32" fmla="*/ 9032 h 10508"/>
              <a:gd name="connsiteX33" fmla="*/ 1407 w 10155"/>
              <a:gd name="connsiteY33" fmla="*/ 8754 h 10508"/>
              <a:gd name="connsiteX34" fmla="*/ 1445 w 10155"/>
              <a:gd name="connsiteY34" fmla="*/ 8608 h 10508"/>
              <a:gd name="connsiteX35" fmla="*/ 1484 w 10155"/>
              <a:gd name="connsiteY35" fmla="*/ 8475 h 10508"/>
              <a:gd name="connsiteX36" fmla="*/ 1522 w 10155"/>
              <a:gd name="connsiteY36" fmla="*/ 8342 h 10508"/>
              <a:gd name="connsiteX37" fmla="*/ 1567 w 10155"/>
              <a:gd name="connsiteY37" fmla="*/ 8208 h 10508"/>
              <a:gd name="connsiteX38" fmla="*/ 1611 w 10155"/>
              <a:gd name="connsiteY38" fmla="*/ 8076 h 10508"/>
              <a:gd name="connsiteX39" fmla="*/ 1662 w 10155"/>
              <a:gd name="connsiteY39" fmla="*/ 7956 h 10508"/>
              <a:gd name="connsiteX40" fmla="*/ 1710 w 10155"/>
              <a:gd name="connsiteY40" fmla="*/ 7837 h 10508"/>
              <a:gd name="connsiteX41" fmla="*/ 1764 w 10155"/>
              <a:gd name="connsiteY41" fmla="*/ 7730 h 10508"/>
              <a:gd name="connsiteX42" fmla="*/ 1820 w 10155"/>
              <a:gd name="connsiteY42" fmla="*/ 7637 h 10508"/>
              <a:gd name="connsiteX43" fmla="*/ 1876 w 10155"/>
              <a:gd name="connsiteY43" fmla="*/ 7544 h 10508"/>
              <a:gd name="connsiteX44" fmla="*/ 1936 w 10155"/>
              <a:gd name="connsiteY44" fmla="*/ 7478 h 10508"/>
              <a:gd name="connsiteX45" fmla="*/ 2001 w 10155"/>
              <a:gd name="connsiteY45" fmla="*/ 7411 h 10508"/>
              <a:gd name="connsiteX46" fmla="*/ 2066 w 10155"/>
              <a:gd name="connsiteY46" fmla="*/ 7358 h 10508"/>
              <a:gd name="connsiteX47" fmla="*/ 2132 w 10155"/>
              <a:gd name="connsiteY47" fmla="*/ 7318 h 10508"/>
              <a:gd name="connsiteX48" fmla="*/ 9018 w 10155"/>
              <a:gd name="connsiteY48" fmla="*/ 7318 h 10508"/>
              <a:gd name="connsiteX49" fmla="*/ 9018 w 10155"/>
              <a:gd name="connsiteY49" fmla="*/ 7318 h 10508"/>
              <a:gd name="connsiteX50" fmla="*/ 9045 w 10155"/>
              <a:gd name="connsiteY50" fmla="*/ 7318 h 10508"/>
              <a:gd name="connsiteX51" fmla="*/ 9077 w 10155"/>
              <a:gd name="connsiteY51" fmla="*/ 7318 h 10508"/>
              <a:gd name="connsiteX52" fmla="*/ 9116 w 10155"/>
              <a:gd name="connsiteY52" fmla="*/ 7305 h 10508"/>
              <a:gd name="connsiteX53" fmla="*/ 9169 w 10155"/>
              <a:gd name="connsiteY53" fmla="*/ 7279 h 10508"/>
              <a:gd name="connsiteX54" fmla="*/ 9226 w 10155"/>
              <a:gd name="connsiteY54" fmla="*/ 7225 h 10508"/>
              <a:gd name="connsiteX55" fmla="*/ 9291 w 10155"/>
              <a:gd name="connsiteY55" fmla="*/ 7159 h 10508"/>
              <a:gd name="connsiteX56" fmla="*/ 9362 w 10155"/>
              <a:gd name="connsiteY56" fmla="*/ 7053 h 10508"/>
              <a:gd name="connsiteX57" fmla="*/ 9439 w 10155"/>
              <a:gd name="connsiteY57" fmla="*/ 6906 h 10508"/>
              <a:gd name="connsiteX58" fmla="*/ 9478 w 10155"/>
              <a:gd name="connsiteY58" fmla="*/ 6813 h 10508"/>
              <a:gd name="connsiteX59" fmla="*/ 9516 w 10155"/>
              <a:gd name="connsiteY59" fmla="*/ 6720 h 10508"/>
              <a:gd name="connsiteX60" fmla="*/ 9558 w 10155"/>
              <a:gd name="connsiteY60" fmla="*/ 6614 h 10508"/>
              <a:gd name="connsiteX61" fmla="*/ 9599 w 10155"/>
              <a:gd name="connsiteY61" fmla="*/ 6494 h 10508"/>
              <a:gd name="connsiteX62" fmla="*/ 9641 w 10155"/>
              <a:gd name="connsiteY62" fmla="*/ 6362 h 10508"/>
              <a:gd name="connsiteX63" fmla="*/ 9683 w 10155"/>
              <a:gd name="connsiteY63" fmla="*/ 6215 h 10508"/>
              <a:gd name="connsiteX64" fmla="*/ 9724 w 10155"/>
              <a:gd name="connsiteY64" fmla="*/ 6056 h 10508"/>
              <a:gd name="connsiteX65" fmla="*/ 9763 w 10155"/>
              <a:gd name="connsiteY65" fmla="*/ 5883 h 10508"/>
              <a:gd name="connsiteX66" fmla="*/ 9804 w 10155"/>
              <a:gd name="connsiteY66" fmla="*/ 5684 h 10508"/>
              <a:gd name="connsiteX67" fmla="*/ 9846 w 10155"/>
              <a:gd name="connsiteY67" fmla="*/ 5484 h 10508"/>
              <a:gd name="connsiteX68" fmla="*/ 9884 w 10155"/>
              <a:gd name="connsiteY68" fmla="*/ 5258 h 10508"/>
              <a:gd name="connsiteX69" fmla="*/ 9923 w 10155"/>
              <a:gd name="connsiteY69" fmla="*/ 5020 h 10508"/>
              <a:gd name="connsiteX70" fmla="*/ 9961 w 10155"/>
              <a:gd name="connsiteY70" fmla="*/ 4767 h 10508"/>
              <a:gd name="connsiteX71" fmla="*/ 10000 w 10155"/>
              <a:gd name="connsiteY71" fmla="*/ 4488 h 10508"/>
              <a:gd name="connsiteX72" fmla="*/ 10006 w 10155"/>
              <a:gd name="connsiteY72" fmla="*/ 0 h 10508"/>
              <a:gd name="connsiteX73" fmla="*/ 0 w 10155"/>
              <a:gd name="connsiteY73" fmla="*/ 0 h 10508"/>
              <a:gd name="connsiteX0" fmla="*/ 0 w 10006"/>
              <a:gd name="connsiteY0" fmla="*/ 0 h 10508"/>
              <a:gd name="connsiteX1" fmla="*/ 3 w 10006"/>
              <a:gd name="connsiteY1" fmla="*/ 7212 h 10508"/>
              <a:gd name="connsiteX2" fmla="*/ 3 w 10006"/>
              <a:gd name="connsiteY2" fmla="*/ 7212 h 10508"/>
              <a:gd name="connsiteX3" fmla="*/ 42 w 10006"/>
              <a:gd name="connsiteY3" fmla="*/ 7239 h 10508"/>
              <a:gd name="connsiteX4" fmla="*/ 83 w 10006"/>
              <a:gd name="connsiteY4" fmla="*/ 7266 h 10508"/>
              <a:gd name="connsiteX5" fmla="*/ 139 w 10006"/>
              <a:gd name="connsiteY5" fmla="*/ 7305 h 10508"/>
              <a:gd name="connsiteX6" fmla="*/ 208 w 10006"/>
              <a:gd name="connsiteY6" fmla="*/ 7372 h 10508"/>
              <a:gd name="connsiteX7" fmla="*/ 285 w 10006"/>
              <a:gd name="connsiteY7" fmla="*/ 7465 h 10508"/>
              <a:gd name="connsiteX8" fmla="*/ 371 w 10006"/>
              <a:gd name="connsiteY8" fmla="*/ 7585 h 10508"/>
              <a:gd name="connsiteX9" fmla="*/ 460 w 10006"/>
              <a:gd name="connsiteY9" fmla="*/ 7730 h 10508"/>
              <a:gd name="connsiteX10" fmla="*/ 555 w 10006"/>
              <a:gd name="connsiteY10" fmla="*/ 7916 h 10508"/>
              <a:gd name="connsiteX11" fmla="*/ 599 w 10006"/>
              <a:gd name="connsiteY11" fmla="*/ 8022 h 10508"/>
              <a:gd name="connsiteX12" fmla="*/ 647 w 10006"/>
              <a:gd name="connsiteY12" fmla="*/ 8142 h 10508"/>
              <a:gd name="connsiteX13" fmla="*/ 694 w 10006"/>
              <a:gd name="connsiteY13" fmla="*/ 8275 h 10508"/>
              <a:gd name="connsiteX14" fmla="*/ 739 w 10006"/>
              <a:gd name="connsiteY14" fmla="*/ 8409 h 10508"/>
              <a:gd name="connsiteX15" fmla="*/ 783 w 10006"/>
              <a:gd name="connsiteY15" fmla="*/ 8568 h 10508"/>
              <a:gd name="connsiteX16" fmla="*/ 828 w 10006"/>
              <a:gd name="connsiteY16" fmla="*/ 8727 h 10508"/>
              <a:gd name="connsiteX17" fmla="*/ 869 w 10006"/>
              <a:gd name="connsiteY17" fmla="*/ 8900 h 10508"/>
              <a:gd name="connsiteX18" fmla="*/ 911 w 10006"/>
              <a:gd name="connsiteY18" fmla="*/ 9086 h 10508"/>
              <a:gd name="connsiteX19" fmla="*/ 950 w 10006"/>
              <a:gd name="connsiteY19" fmla="*/ 9285 h 10508"/>
              <a:gd name="connsiteX20" fmla="*/ 985 w 10006"/>
              <a:gd name="connsiteY20" fmla="*/ 9498 h 10508"/>
              <a:gd name="connsiteX21" fmla="*/ 1018 w 10006"/>
              <a:gd name="connsiteY21" fmla="*/ 9738 h 10508"/>
              <a:gd name="connsiteX22" fmla="*/ 1050 w 10006"/>
              <a:gd name="connsiteY22" fmla="*/ 9976 h 10508"/>
              <a:gd name="connsiteX23" fmla="*/ 1077 w 10006"/>
              <a:gd name="connsiteY23" fmla="*/ 10243 h 10508"/>
              <a:gd name="connsiteX24" fmla="*/ 1104 w 10006"/>
              <a:gd name="connsiteY24" fmla="*/ 10508 h 10508"/>
              <a:gd name="connsiteX25" fmla="*/ 1104 w 10006"/>
              <a:gd name="connsiteY25" fmla="*/ 10508 h 10508"/>
              <a:gd name="connsiteX26" fmla="*/ 1116 w 10006"/>
              <a:gd name="connsiteY26" fmla="*/ 10388 h 10508"/>
              <a:gd name="connsiteX27" fmla="*/ 1134 w 10006"/>
              <a:gd name="connsiteY27" fmla="*/ 10243 h 10508"/>
              <a:gd name="connsiteX28" fmla="*/ 1160 w 10006"/>
              <a:gd name="connsiteY28" fmla="*/ 10056 h 10508"/>
              <a:gd name="connsiteX29" fmla="*/ 1193 w 10006"/>
              <a:gd name="connsiteY29" fmla="*/ 9831 h 10508"/>
              <a:gd name="connsiteX30" fmla="*/ 1234 w 10006"/>
              <a:gd name="connsiteY30" fmla="*/ 9591 h 10508"/>
              <a:gd name="connsiteX31" fmla="*/ 1285 w 10006"/>
              <a:gd name="connsiteY31" fmla="*/ 9312 h 10508"/>
              <a:gd name="connsiteX32" fmla="*/ 1341 w 10006"/>
              <a:gd name="connsiteY32" fmla="*/ 9032 h 10508"/>
              <a:gd name="connsiteX33" fmla="*/ 1407 w 10006"/>
              <a:gd name="connsiteY33" fmla="*/ 8754 h 10508"/>
              <a:gd name="connsiteX34" fmla="*/ 1445 w 10006"/>
              <a:gd name="connsiteY34" fmla="*/ 8608 h 10508"/>
              <a:gd name="connsiteX35" fmla="*/ 1484 w 10006"/>
              <a:gd name="connsiteY35" fmla="*/ 8475 h 10508"/>
              <a:gd name="connsiteX36" fmla="*/ 1522 w 10006"/>
              <a:gd name="connsiteY36" fmla="*/ 8342 h 10508"/>
              <a:gd name="connsiteX37" fmla="*/ 1567 w 10006"/>
              <a:gd name="connsiteY37" fmla="*/ 8208 h 10508"/>
              <a:gd name="connsiteX38" fmla="*/ 1611 w 10006"/>
              <a:gd name="connsiteY38" fmla="*/ 8076 h 10508"/>
              <a:gd name="connsiteX39" fmla="*/ 1662 w 10006"/>
              <a:gd name="connsiteY39" fmla="*/ 7956 h 10508"/>
              <a:gd name="connsiteX40" fmla="*/ 1710 w 10006"/>
              <a:gd name="connsiteY40" fmla="*/ 7837 h 10508"/>
              <a:gd name="connsiteX41" fmla="*/ 1764 w 10006"/>
              <a:gd name="connsiteY41" fmla="*/ 7730 h 10508"/>
              <a:gd name="connsiteX42" fmla="*/ 1820 w 10006"/>
              <a:gd name="connsiteY42" fmla="*/ 7637 h 10508"/>
              <a:gd name="connsiteX43" fmla="*/ 1876 w 10006"/>
              <a:gd name="connsiteY43" fmla="*/ 7544 h 10508"/>
              <a:gd name="connsiteX44" fmla="*/ 1936 w 10006"/>
              <a:gd name="connsiteY44" fmla="*/ 7478 h 10508"/>
              <a:gd name="connsiteX45" fmla="*/ 2001 w 10006"/>
              <a:gd name="connsiteY45" fmla="*/ 7411 h 10508"/>
              <a:gd name="connsiteX46" fmla="*/ 2066 w 10006"/>
              <a:gd name="connsiteY46" fmla="*/ 7358 h 10508"/>
              <a:gd name="connsiteX47" fmla="*/ 2132 w 10006"/>
              <a:gd name="connsiteY47" fmla="*/ 7318 h 10508"/>
              <a:gd name="connsiteX48" fmla="*/ 9018 w 10006"/>
              <a:gd name="connsiteY48" fmla="*/ 7318 h 10508"/>
              <a:gd name="connsiteX49" fmla="*/ 9018 w 10006"/>
              <a:gd name="connsiteY49" fmla="*/ 7318 h 10508"/>
              <a:gd name="connsiteX50" fmla="*/ 9045 w 10006"/>
              <a:gd name="connsiteY50" fmla="*/ 7318 h 10508"/>
              <a:gd name="connsiteX51" fmla="*/ 9077 w 10006"/>
              <a:gd name="connsiteY51" fmla="*/ 7318 h 10508"/>
              <a:gd name="connsiteX52" fmla="*/ 9116 w 10006"/>
              <a:gd name="connsiteY52" fmla="*/ 7305 h 10508"/>
              <a:gd name="connsiteX53" fmla="*/ 9169 w 10006"/>
              <a:gd name="connsiteY53" fmla="*/ 7279 h 10508"/>
              <a:gd name="connsiteX54" fmla="*/ 9226 w 10006"/>
              <a:gd name="connsiteY54" fmla="*/ 7225 h 10508"/>
              <a:gd name="connsiteX55" fmla="*/ 9291 w 10006"/>
              <a:gd name="connsiteY55" fmla="*/ 7159 h 10508"/>
              <a:gd name="connsiteX56" fmla="*/ 9362 w 10006"/>
              <a:gd name="connsiteY56" fmla="*/ 7053 h 10508"/>
              <a:gd name="connsiteX57" fmla="*/ 9439 w 10006"/>
              <a:gd name="connsiteY57" fmla="*/ 6906 h 10508"/>
              <a:gd name="connsiteX58" fmla="*/ 9478 w 10006"/>
              <a:gd name="connsiteY58" fmla="*/ 6813 h 10508"/>
              <a:gd name="connsiteX59" fmla="*/ 9516 w 10006"/>
              <a:gd name="connsiteY59" fmla="*/ 6720 h 10508"/>
              <a:gd name="connsiteX60" fmla="*/ 9558 w 10006"/>
              <a:gd name="connsiteY60" fmla="*/ 6614 h 10508"/>
              <a:gd name="connsiteX61" fmla="*/ 9599 w 10006"/>
              <a:gd name="connsiteY61" fmla="*/ 6494 h 10508"/>
              <a:gd name="connsiteX62" fmla="*/ 9641 w 10006"/>
              <a:gd name="connsiteY62" fmla="*/ 6362 h 10508"/>
              <a:gd name="connsiteX63" fmla="*/ 9683 w 10006"/>
              <a:gd name="connsiteY63" fmla="*/ 6215 h 10508"/>
              <a:gd name="connsiteX64" fmla="*/ 9724 w 10006"/>
              <a:gd name="connsiteY64" fmla="*/ 6056 h 10508"/>
              <a:gd name="connsiteX65" fmla="*/ 9763 w 10006"/>
              <a:gd name="connsiteY65" fmla="*/ 5883 h 10508"/>
              <a:gd name="connsiteX66" fmla="*/ 9804 w 10006"/>
              <a:gd name="connsiteY66" fmla="*/ 5684 h 10508"/>
              <a:gd name="connsiteX67" fmla="*/ 9846 w 10006"/>
              <a:gd name="connsiteY67" fmla="*/ 5484 h 10508"/>
              <a:gd name="connsiteX68" fmla="*/ 9884 w 10006"/>
              <a:gd name="connsiteY68" fmla="*/ 5258 h 10508"/>
              <a:gd name="connsiteX69" fmla="*/ 9923 w 10006"/>
              <a:gd name="connsiteY69" fmla="*/ 5020 h 10508"/>
              <a:gd name="connsiteX70" fmla="*/ 9961 w 10006"/>
              <a:gd name="connsiteY70" fmla="*/ 4767 h 10508"/>
              <a:gd name="connsiteX71" fmla="*/ 10000 w 10006"/>
              <a:gd name="connsiteY71" fmla="*/ 4488 h 10508"/>
              <a:gd name="connsiteX72" fmla="*/ 10006 w 10006"/>
              <a:gd name="connsiteY72" fmla="*/ 0 h 10508"/>
              <a:gd name="connsiteX73" fmla="*/ 0 w 10006"/>
              <a:gd name="connsiteY73" fmla="*/ 0 h 1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6" h="10508">
                <a:moveTo>
                  <a:pt x="0" y="0"/>
                </a:moveTo>
                <a:lnTo>
                  <a:pt x="3" y="7212"/>
                </a:lnTo>
                <a:lnTo>
                  <a:pt x="3" y="7212"/>
                </a:lnTo>
                <a:cubicBezTo>
                  <a:pt x="16" y="7221"/>
                  <a:pt x="29" y="7229"/>
                  <a:pt x="42" y="7239"/>
                </a:cubicBezTo>
                <a:cubicBezTo>
                  <a:pt x="56" y="7248"/>
                  <a:pt x="69" y="7257"/>
                  <a:pt x="83" y="7266"/>
                </a:cubicBezTo>
                <a:cubicBezTo>
                  <a:pt x="102" y="7279"/>
                  <a:pt x="120" y="7292"/>
                  <a:pt x="139" y="7305"/>
                </a:cubicBezTo>
                <a:cubicBezTo>
                  <a:pt x="162" y="7327"/>
                  <a:pt x="185" y="7349"/>
                  <a:pt x="208" y="7372"/>
                </a:cubicBezTo>
                <a:cubicBezTo>
                  <a:pt x="234" y="7403"/>
                  <a:pt x="259" y="7434"/>
                  <a:pt x="285" y="7465"/>
                </a:cubicBezTo>
                <a:cubicBezTo>
                  <a:pt x="314" y="7505"/>
                  <a:pt x="342" y="7545"/>
                  <a:pt x="371" y="7585"/>
                </a:cubicBezTo>
                <a:cubicBezTo>
                  <a:pt x="401" y="7633"/>
                  <a:pt x="430" y="7682"/>
                  <a:pt x="460" y="7730"/>
                </a:cubicBezTo>
                <a:cubicBezTo>
                  <a:pt x="492" y="7792"/>
                  <a:pt x="523" y="7854"/>
                  <a:pt x="555" y="7916"/>
                </a:cubicBezTo>
                <a:cubicBezTo>
                  <a:pt x="570" y="7951"/>
                  <a:pt x="584" y="7987"/>
                  <a:pt x="599" y="8022"/>
                </a:cubicBezTo>
                <a:cubicBezTo>
                  <a:pt x="615" y="8063"/>
                  <a:pt x="631" y="8102"/>
                  <a:pt x="647" y="8142"/>
                </a:cubicBezTo>
                <a:cubicBezTo>
                  <a:pt x="663" y="8187"/>
                  <a:pt x="678" y="8231"/>
                  <a:pt x="694" y="8275"/>
                </a:cubicBezTo>
                <a:cubicBezTo>
                  <a:pt x="709" y="8320"/>
                  <a:pt x="724" y="8364"/>
                  <a:pt x="739" y="8409"/>
                </a:cubicBezTo>
                <a:cubicBezTo>
                  <a:pt x="754" y="8461"/>
                  <a:pt x="768" y="8515"/>
                  <a:pt x="783" y="8568"/>
                </a:cubicBezTo>
                <a:cubicBezTo>
                  <a:pt x="798" y="8620"/>
                  <a:pt x="813" y="8674"/>
                  <a:pt x="828" y="8727"/>
                </a:cubicBezTo>
                <a:cubicBezTo>
                  <a:pt x="842" y="8785"/>
                  <a:pt x="855" y="8842"/>
                  <a:pt x="869" y="8900"/>
                </a:cubicBezTo>
                <a:lnTo>
                  <a:pt x="911" y="9086"/>
                </a:lnTo>
                <a:cubicBezTo>
                  <a:pt x="924" y="9152"/>
                  <a:pt x="937" y="9219"/>
                  <a:pt x="950" y="9285"/>
                </a:cubicBezTo>
                <a:cubicBezTo>
                  <a:pt x="962" y="9357"/>
                  <a:pt x="973" y="9427"/>
                  <a:pt x="985" y="9498"/>
                </a:cubicBezTo>
                <a:lnTo>
                  <a:pt x="1018" y="9738"/>
                </a:lnTo>
                <a:cubicBezTo>
                  <a:pt x="1029" y="9817"/>
                  <a:pt x="1039" y="9897"/>
                  <a:pt x="1050" y="9976"/>
                </a:cubicBezTo>
                <a:lnTo>
                  <a:pt x="1077" y="10243"/>
                </a:lnTo>
                <a:cubicBezTo>
                  <a:pt x="1086" y="10331"/>
                  <a:pt x="1095" y="10419"/>
                  <a:pt x="1104" y="10508"/>
                </a:cubicBezTo>
                <a:lnTo>
                  <a:pt x="1104" y="10508"/>
                </a:lnTo>
                <a:lnTo>
                  <a:pt x="1116" y="10388"/>
                </a:lnTo>
                <a:cubicBezTo>
                  <a:pt x="1122" y="10340"/>
                  <a:pt x="1128" y="10291"/>
                  <a:pt x="1134" y="10243"/>
                </a:cubicBezTo>
                <a:cubicBezTo>
                  <a:pt x="1143" y="10181"/>
                  <a:pt x="1151" y="10118"/>
                  <a:pt x="1160" y="10056"/>
                </a:cubicBezTo>
                <a:cubicBezTo>
                  <a:pt x="1171" y="9980"/>
                  <a:pt x="1182" y="9906"/>
                  <a:pt x="1193" y="9831"/>
                </a:cubicBezTo>
                <a:cubicBezTo>
                  <a:pt x="1207" y="9751"/>
                  <a:pt x="1220" y="9671"/>
                  <a:pt x="1234" y="9591"/>
                </a:cubicBezTo>
                <a:lnTo>
                  <a:pt x="1285" y="9312"/>
                </a:lnTo>
                <a:cubicBezTo>
                  <a:pt x="1304" y="9219"/>
                  <a:pt x="1322" y="9125"/>
                  <a:pt x="1341" y="9032"/>
                </a:cubicBezTo>
                <a:cubicBezTo>
                  <a:pt x="1363" y="8939"/>
                  <a:pt x="1385" y="8847"/>
                  <a:pt x="1407" y="8754"/>
                </a:cubicBezTo>
                <a:cubicBezTo>
                  <a:pt x="1420" y="8705"/>
                  <a:pt x="1432" y="8656"/>
                  <a:pt x="1445" y="8608"/>
                </a:cubicBezTo>
                <a:cubicBezTo>
                  <a:pt x="1458" y="8564"/>
                  <a:pt x="1471" y="8519"/>
                  <a:pt x="1484" y="8475"/>
                </a:cubicBezTo>
                <a:cubicBezTo>
                  <a:pt x="1497" y="8430"/>
                  <a:pt x="1509" y="8386"/>
                  <a:pt x="1522" y="8342"/>
                </a:cubicBezTo>
                <a:cubicBezTo>
                  <a:pt x="1537" y="8297"/>
                  <a:pt x="1552" y="8253"/>
                  <a:pt x="1567" y="8208"/>
                </a:cubicBezTo>
                <a:cubicBezTo>
                  <a:pt x="1582" y="8164"/>
                  <a:pt x="1596" y="8121"/>
                  <a:pt x="1611" y="8076"/>
                </a:cubicBezTo>
                <a:cubicBezTo>
                  <a:pt x="1628" y="8036"/>
                  <a:pt x="1645" y="7997"/>
                  <a:pt x="1662" y="7956"/>
                </a:cubicBezTo>
                <a:cubicBezTo>
                  <a:pt x="1679" y="7916"/>
                  <a:pt x="1694" y="7877"/>
                  <a:pt x="1710" y="7837"/>
                </a:cubicBezTo>
                <a:cubicBezTo>
                  <a:pt x="1728" y="7801"/>
                  <a:pt x="1746" y="7765"/>
                  <a:pt x="1764" y="7730"/>
                </a:cubicBezTo>
                <a:cubicBezTo>
                  <a:pt x="1783" y="7699"/>
                  <a:pt x="1801" y="7668"/>
                  <a:pt x="1820" y="7637"/>
                </a:cubicBezTo>
                <a:cubicBezTo>
                  <a:pt x="1839" y="7606"/>
                  <a:pt x="1857" y="7575"/>
                  <a:pt x="1876" y="7544"/>
                </a:cubicBezTo>
                <a:cubicBezTo>
                  <a:pt x="1896" y="7523"/>
                  <a:pt x="1916" y="7500"/>
                  <a:pt x="1936" y="7478"/>
                </a:cubicBezTo>
                <a:cubicBezTo>
                  <a:pt x="1958" y="7456"/>
                  <a:pt x="1979" y="7433"/>
                  <a:pt x="2001" y="7411"/>
                </a:cubicBezTo>
                <a:cubicBezTo>
                  <a:pt x="2023" y="7394"/>
                  <a:pt x="2044" y="7376"/>
                  <a:pt x="2066" y="7358"/>
                </a:cubicBezTo>
                <a:cubicBezTo>
                  <a:pt x="2088" y="7345"/>
                  <a:pt x="2110" y="7331"/>
                  <a:pt x="2132" y="7318"/>
                </a:cubicBezTo>
                <a:lnTo>
                  <a:pt x="9018" y="7318"/>
                </a:lnTo>
                <a:lnTo>
                  <a:pt x="9018" y="7318"/>
                </a:lnTo>
                <a:lnTo>
                  <a:pt x="9045" y="7318"/>
                </a:lnTo>
                <a:lnTo>
                  <a:pt x="9077" y="7318"/>
                </a:lnTo>
                <a:cubicBezTo>
                  <a:pt x="9090" y="7314"/>
                  <a:pt x="9103" y="7309"/>
                  <a:pt x="9116" y="7305"/>
                </a:cubicBezTo>
                <a:cubicBezTo>
                  <a:pt x="9134" y="7297"/>
                  <a:pt x="9151" y="7287"/>
                  <a:pt x="9169" y="7279"/>
                </a:cubicBezTo>
                <a:lnTo>
                  <a:pt x="9226" y="7225"/>
                </a:lnTo>
                <a:cubicBezTo>
                  <a:pt x="9248" y="7204"/>
                  <a:pt x="9269" y="7181"/>
                  <a:pt x="9291" y="7159"/>
                </a:cubicBezTo>
                <a:cubicBezTo>
                  <a:pt x="9315" y="7124"/>
                  <a:pt x="9338" y="7088"/>
                  <a:pt x="9362" y="7053"/>
                </a:cubicBezTo>
                <a:cubicBezTo>
                  <a:pt x="9388" y="7004"/>
                  <a:pt x="9413" y="6955"/>
                  <a:pt x="9439" y="6906"/>
                </a:cubicBezTo>
                <a:lnTo>
                  <a:pt x="9478" y="6813"/>
                </a:lnTo>
                <a:cubicBezTo>
                  <a:pt x="9491" y="6782"/>
                  <a:pt x="9503" y="6751"/>
                  <a:pt x="9516" y="6720"/>
                </a:cubicBezTo>
                <a:cubicBezTo>
                  <a:pt x="9530" y="6685"/>
                  <a:pt x="9544" y="6649"/>
                  <a:pt x="9558" y="6614"/>
                </a:cubicBezTo>
                <a:cubicBezTo>
                  <a:pt x="9572" y="6574"/>
                  <a:pt x="9585" y="6534"/>
                  <a:pt x="9599" y="6494"/>
                </a:cubicBezTo>
                <a:lnTo>
                  <a:pt x="9641" y="6362"/>
                </a:lnTo>
                <a:lnTo>
                  <a:pt x="9683" y="6215"/>
                </a:lnTo>
                <a:cubicBezTo>
                  <a:pt x="9697" y="6163"/>
                  <a:pt x="9710" y="6109"/>
                  <a:pt x="9724" y="6056"/>
                </a:cubicBezTo>
                <a:cubicBezTo>
                  <a:pt x="9737" y="5998"/>
                  <a:pt x="9750" y="5941"/>
                  <a:pt x="9763" y="5883"/>
                </a:cubicBezTo>
                <a:cubicBezTo>
                  <a:pt x="9777" y="5817"/>
                  <a:pt x="9790" y="5750"/>
                  <a:pt x="9804" y="5684"/>
                </a:cubicBezTo>
                <a:cubicBezTo>
                  <a:pt x="9818" y="5617"/>
                  <a:pt x="9832" y="5550"/>
                  <a:pt x="9846" y="5484"/>
                </a:cubicBezTo>
                <a:cubicBezTo>
                  <a:pt x="9859" y="5409"/>
                  <a:pt x="9871" y="5333"/>
                  <a:pt x="9884" y="5258"/>
                </a:cubicBezTo>
                <a:cubicBezTo>
                  <a:pt x="9897" y="5179"/>
                  <a:pt x="9910" y="5099"/>
                  <a:pt x="9923" y="5020"/>
                </a:cubicBezTo>
                <a:cubicBezTo>
                  <a:pt x="9936" y="4935"/>
                  <a:pt x="9948" y="4851"/>
                  <a:pt x="9961" y="4767"/>
                </a:cubicBezTo>
                <a:lnTo>
                  <a:pt x="10000" y="4488"/>
                </a:lnTo>
                <a:lnTo>
                  <a:pt x="10006"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6"/>
          <p:cNvSpPr>
            <a:spLocks/>
          </p:cNvSpPr>
          <p:nvPr/>
        </p:nvSpPr>
        <p:spPr bwMode="auto">
          <a:xfrm>
            <a:off x="0" y="764775"/>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29" name="Picture 28" descr="Capgemini_logo_cover.jpg"/>
          <p:cNvPicPr>
            <a:picLocks noChangeAspect="1"/>
          </p:cNvPicPr>
          <p:nvPr/>
        </p:nvPicPr>
        <p:blipFill>
          <a:blip r:embed="rId11"/>
          <a:stretch>
            <a:fillRect/>
          </a:stretch>
        </p:blipFill>
        <p:spPr>
          <a:xfrm>
            <a:off x="482184" y="440835"/>
            <a:ext cx="2305948" cy="546076"/>
          </a:xfrm>
          <a:prstGeom prst="rect">
            <a:avLst/>
          </a:prstGeom>
        </p:spPr>
      </p:pic>
      <p:sp>
        <p:nvSpPr>
          <p:cNvPr id="30" name="Rectangle 29"/>
          <p:cNvSpPr/>
          <p:nvPr/>
        </p:nvSpPr>
        <p:spPr>
          <a:xfrm>
            <a:off x="7715250" y="440835"/>
            <a:ext cx="1703388" cy="548640"/>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solidFill>
                  <a:schemeClr val="tx2">
                    <a:lumMod val="50000"/>
                  </a:schemeClr>
                </a:solidFill>
              </a:rPr>
              <a:t>Client Logo</a:t>
            </a:r>
          </a:p>
        </p:txBody>
      </p:sp>
      <p:sp>
        <p:nvSpPr>
          <p:cNvPr id="20" name="Rectangle 19"/>
          <p:cNvSpPr/>
          <p:nvPr/>
        </p:nvSpPr>
        <p:spPr>
          <a:xfrm>
            <a:off x="4065973" y="3266572"/>
            <a:ext cx="5530788" cy="1485022"/>
          </a:xfrm>
          <a:prstGeom prst="rect">
            <a:avLst/>
          </a:prstGeom>
        </p:spPr>
        <p:txBody>
          <a:bodyPr wrap="square">
            <a:spAutoFit/>
          </a:bodyPr>
          <a:lstStyle/>
          <a:p>
            <a:pPr marL="0" indent="0" algn="just">
              <a:spcAft>
                <a:spcPts val="600"/>
              </a:spcAft>
            </a:pPr>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spcAft>
                <a:spcPts val="600"/>
              </a:spcAft>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Aft>
                <a:spcPts val="600"/>
              </a:spcAft>
            </a:pPr>
            <a:endParaRPr lang="en-US" sz="1050" dirty="0">
              <a:solidFill>
                <a:schemeClr val="bg1"/>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940" r:id="rId1"/>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Rectangle 33"/>
          <p:cNvSpPr/>
          <p:nvPr>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57698" name="think-cell Slide" r:id="rId8" imgW="360" imgH="360" progId="">
              <p:embed/>
            </p:oleObj>
          </a:graphicData>
        </a:graphic>
      </p:graphicFrame>
      <p:sp>
        <p:nvSpPr>
          <p:cNvPr id="31" name="Rectangle 30"/>
          <p:cNvSpPr/>
          <p:nvPr/>
        </p:nvSpPr>
        <p:spPr>
          <a:xfrm>
            <a:off x="3790765" y="2485751"/>
            <a:ext cx="6115235" cy="32314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custDataLst>
              <p:tags r:id="rId5"/>
            </p:custDataLst>
          </p:nvPr>
        </p:nvSpPr>
        <p:spPr>
          <a:xfrm>
            <a:off x="4065973" y="5247393"/>
            <a:ext cx="5033828" cy="215444"/>
          </a:xfrm>
          <a:prstGeom prst="rect">
            <a:avLst/>
          </a:prstGeom>
        </p:spPr>
        <p:txBody>
          <a:bodyPr wrap="square" lIns="91440" tIns="0" rIns="0" bIns="0" anchor="b" anchorCtr="0">
            <a:spAutoFit/>
          </a:bodyPr>
          <a:lstStyle/>
          <a:p>
            <a:pPr algn="l"/>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 © 2014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p>
          <a:p>
            <a:pPr algn="l"/>
            <a:r>
              <a:rPr lang="en-US" sz="700" i="0" dirty="0" smtClean="0">
                <a:solidFill>
                  <a:schemeClr val="bg1"/>
                </a:solidFill>
                <a:latin typeface="Arial"/>
                <a:cs typeface="Arial"/>
              </a:rPr>
              <a:t>Rightshore</a:t>
            </a:r>
            <a:r>
              <a:rPr lang="en-US" sz="700" i="0" baseline="30000" dirty="0" smtClean="0">
                <a:solidFill>
                  <a:schemeClr val="bg1"/>
                </a:solidFill>
                <a:latin typeface="Arial"/>
                <a:cs typeface="Arial"/>
              </a:rPr>
              <a:t>®</a:t>
            </a:r>
            <a:r>
              <a:rPr lang="en-US" sz="700" i="0" dirty="0" smtClean="0">
                <a:solidFill>
                  <a:schemeClr val="bg1"/>
                </a:solidFill>
                <a:latin typeface="Arial"/>
                <a:cs typeface="Arial"/>
              </a:rPr>
              <a:t> is a trademark belonging to Capgemini.</a:t>
            </a:r>
          </a:p>
        </p:txBody>
      </p:sp>
      <p:sp>
        <p:nvSpPr>
          <p:cNvPr id="15" name="Rectangle 14"/>
          <p:cNvSpPr/>
          <p:nvPr>
            <p:custDataLst>
              <p:tags r:id="rId6"/>
            </p:custDataLst>
          </p:nvPr>
        </p:nvSpPr>
        <p:spPr>
          <a:xfrm>
            <a:off x="4065973" y="4744581"/>
            <a:ext cx="2117311" cy="415498"/>
          </a:xfrm>
          <a:prstGeom prst="rect">
            <a:avLst/>
          </a:prstGeom>
        </p:spPr>
        <p:txBody>
          <a:bodyPr wrap="none" lIns="91440" tIns="0" rIns="0" bIns="0" anchor="b" anchorCtr="0">
            <a:spAutoFit/>
          </a:bodyPr>
          <a:lstStyle/>
          <a:p>
            <a:pPr marL="0" marR="0" indent="0" algn="l" defTabSz="957756" rtl="0" eaLnBrk="1" fontAlgn="auto" latinLnBrk="0" hangingPunct="1">
              <a:lnSpc>
                <a:spcPct val="100000"/>
              </a:lnSpc>
              <a:spcBef>
                <a:spcPts val="0"/>
              </a:spcBef>
              <a:spcAft>
                <a:spcPts val="0"/>
              </a:spcAft>
              <a:buClrTx/>
              <a:buSzTx/>
              <a:buFontTx/>
              <a:buNone/>
              <a:tabLst/>
              <a:defRPr/>
            </a:pPr>
            <a:r>
              <a:rPr lang="en-US" sz="1000" kern="1200" dirty="0" smtClean="0">
                <a:solidFill>
                  <a:schemeClr val="bg1"/>
                </a:solidFill>
                <a:latin typeface="Arial" pitchFamily="34" charset="0"/>
                <a:ea typeface="+mn-ea"/>
                <a:cs typeface="Arial" pitchFamily="34" charset="0"/>
              </a:rPr>
              <a:t>Learn more about us at</a:t>
            </a:r>
          </a:p>
          <a:p>
            <a:pPr algn="l"/>
            <a:r>
              <a:rPr lang="en-US" sz="1600" b="1" dirty="0" smtClean="0">
                <a:solidFill>
                  <a:schemeClr val="bg1"/>
                </a:solidFill>
                <a:latin typeface="Arial" pitchFamily="34" charset="0"/>
                <a:cs typeface="Arial" pitchFamily="34" charset="0"/>
              </a:rPr>
              <a:t>www.capgemini.com</a:t>
            </a:r>
            <a:endParaRPr lang="en-US" sz="1600" b="1" dirty="0">
              <a:solidFill>
                <a:schemeClr val="bg1"/>
              </a:solidFill>
              <a:latin typeface="Arial" pitchFamily="34" charset="0"/>
              <a:cs typeface="Arial" pitchFamily="34" charset="0"/>
            </a:endParaRPr>
          </a:p>
        </p:txBody>
      </p:sp>
      <p:grpSp>
        <p:nvGrpSpPr>
          <p:cNvPr id="2" name="Group 26"/>
          <p:cNvGrpSpPr/>
          <p:nvPr/>
        </p:nvGrpSpPr>
        <p:grpSpPr>
          <a:xfrm>
            <a:off x="4065973" y="2707280"/>
            <a:ext cx="5573080" cy="536493"/>
            <a:chOff x="4141844" y="2591866"/>
            <a:chExt cx="5573080" cy="536493"/>
          </a:xfrm>
        </p:grpSpPr>
        <p:pic>
          <p:nvPicPr>
            <p:cNvPr id="33" name="Image 337" descr="CBE_Label_ppt.png"/>
            <p:cNvPicPr>
              <a:picLocks noChangeAspect="1"/>
            </p:cNvPicPr>
            <p:nvPr userDrawn="1"/>
          </p:nvPicPr>
          <p:blipFill>
            <a:blip r:embed="rId9" cstate="screen"/>
            <a:stretch>
              <a:fillRect/>
            </a:stretch>
          </p:blipFill>
          <p:spPr>
            <a:xfrm>
              <a:off x="4141844" y="2605851"/>
              <a:ext cx="519572" cy="522508"/>
            </a:xfrm>
            <a:prstGeom prst="rect">
              <a:avLst/>
            </a:prstGeom>
          </p:spPr>
        </p:pic>
        <p:sp>
          <p:nvSpPr>
            <p:cNvPr id="24" name="Rectangle 23"/>
            <p:cNvSpPr/>
            <p:nvPr userDrawn="1"/>
          </p:nvSpPr>
          <p:spPr>
            <a:xfrm>
              <a:off x="4633970" y="2591866"/>
              <a:ext cx="5080954" cy="369332"/>
            </a:xfrm>
            <a:prstGeom prst="rect">
              <a:avLst/>
            </a:prstGeom>
          </p:spPr>
          <p:txBody>
            <a:bodyPr wrap="square">
              <a:spAutoFit/>
            </a:bodyPr>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p:txBody>
        </p:sp>
        <p:cxnSp>
          <p:nvCxnSpPr>
            <p:cNvPr id="26" name="Straight Connector 25"/>
            <p:cNvCxnSpPr/>
            <p:nvPr userDrawn="1"/>
          </p:nvCxnSpPr>
          <p:spPr>
            <a:xfrm>
              <a:off x="4700964" y="2993821"/>
              <a:ext cx="490064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1" name="Picture 13">
            <a:hlinkClick r:id="" action="ppaction://hlinkshowjump?jump=previousslide"/>
          </p:cNvPr>
          <p:cNvPicPr>
            <a:picLocks noChangeAspect="1" noChangeArrowheads="1"/>
          </p:cNvPicPr>
          <p:nvPr/>
        </p:nvPicPr>
        <p:blipFill>
          <a:blip r:embed="rId10">
            <a:duotone>
              <a:prstClr val="black"/>
              <a:schemeClr val="accent5">
                <a:tint val="45000"/>
                <a:satMod val="400000"/>
              </a:schemeClr>
            </a:duotone>
          </a:blip>
          <a:srcRect/>
          <a:stretch>
            <a:fillRect/>
          </a:stretch>
        </p:blipFill>
        <p:spPr bwMode="auto">
          <a:xfrm flipH="1">
            <a:off x="6408738" y="6521666"/>
            <a:ext cx="190500" cy="200025"/>
          </a:xfrm>
          <a:prstGeom prst="rect">
            <a:avLst/>
          </a:prstGeom>
          <a:noFill/>
          <a:ln w="9525">
            <a:noFill/>
            <a:miter lim="800000"/>
            <a:headEnd/>
            <a:tailEnd/>
          </a:ln>
          <a:effectLst/>
        </p:spPr>
      </p:pic>
      <p:sp>
        <p:nvSpPr>
          <p:cNvPr id="18" name="Freeform 19"/>
          <p:cNvSpPr>
            <a:spLocks/>
          </p:cNvSpPr>
          <p:nvPr/>
        </p:nvSpPr>
        <p:spPr bwMode="auto">
          <a:xfrm>
            <a:off x="-89" y="-68"/>
            <a:ext cx="9906089" cy="2323475"/>
          </a:xfrm>
          <a:custGeom>
            <a:avLst/>
            <a:gdLst>
              <a:gd name="connsiteX0" fmla="*/ 219 w 10000"/>
              <a:gd name="connsiteY0" fmla="*/ 1089 h 10000"/>
              <a:gd name="connsiteX1" fmla="*/ 0 w 10000"/>
              <a:gd name="connsiteY1" fmla="*/ 6808 h 10000"/>
              <a:gd name="connsiteX2" fmla="*/ 0 w 10000"/>
              <a:gd name="connsiteY2" fmla="*/ 6808 h 10000"/>
              <a:gd name="connsiteX3" fmla="*/ 39 w 10000"/>
              <a:gd name="connsiteY3" fmla="*/ 6834 h 10000"/>
              <a:gd name="connsiteX4" fmla="*/ 80 w 10000"/>
              <a:gd name="connsiteY4" fmla="*/ 6860 h 10000"/>
              <a:gd name="connsiteX5" fmla="*/ 136 w 10000"/>
              <a:gd name="connsiteY5" fmla="*/ 6898 h 10000"/>
              <a:gd name="connsiteX6" fmla="*/ 205 w 10000"/>
              <a:gd name="connsiteY6" fmla="*/ 6963 h 10000"/>
              <a:gd name="connsiteX7" fmla="*/ 282 w 10000"/>
              <a:gd name="connsiteY7" fmla="*/ 7053 h 10000"/>
              <a:gd name="connsiteX8" fmla="*/ 368 w 10000"/>
              <a:gd name="connsiteY8" fmla="*/ 7169 h 10000"/>
              <a:gd name="connsiteX9" fmla="*/ 457 w 10000"/>
              <a:gd name="connsiteY9" fmla="*/ 7310 h 10000"/>
              <a:gd name="connsiteX10" fmla="*/ 552 w 10000"/>
              <a:gd name="connsiteY10" fmla="*/ 7490 h 10000"/>
              <a:gd name="connsiteX11" fmla="*/ 596 w 10000"/>
              <a:gd name="connsiteY11" fmla="*/ 7593 h 10000"/>
              <a:gd name="connsiteX12" fmla="*/ 644 w 10000"/>
              <a:gd name="connsiteY12" fmla="*/ 7709 h 10000"/>
              <a:gd name="connsiteX13" fmla="*/ 691 w 10000"/>
              <a:gd name="connsiteY13" fmla="*/ 7838 h 10000"/>
              <a:gd name="connsiteX14" fmla="*/ 736 w 10000"/>
              <a:gd name="connsiteY14" fmla="*/ 7967 h 10000"/>
              <a:gd name="connsiteX15" fmla="*/ 780 w 10000"/>
              <a:gd name="connsiteY15" fmla="*/ 8121 h 10000"/>
              <a:gd name="connsiteX16" fmla="*/ 825 w 10000"/>
              <a:gd name="connsiteY16" fmla="*/ 8275 h 10000"/>
              <a:gd name="connsiteX17" fmla="*/ 866 w 10000"/>
              <a:gd name="connsiteY17" fmla="*/ 8443 h 10000"/>
              <a:gd name="connsiteX18" fmla="*/ 908 w 10000"/>
              <a:gd name="connsiteY18" fmla="*/ 8623 h 10000"/>
              <a:gd name="connsiteX19" fmla="*/ 947 w 10000"/>
              <a:gd name="connsiteY19" fmla="*/ 8816 h 10000"/>
              <a:gd name="connsiteX20" fmla="*/ 982 w 10000"/>
              <a:gd name="connsiteY20" fmla="*/ 9022 h 10000"/>
              <a:gd name="connsiteX21" fmla="*/ 1015 w 10000"/>
              <a:gd name="connsiteY21" fmla="*/ 9254 h 10000"/>
              <a:gd name="connsiteX22" fmla="*/ 1047 w 10000"/>
              <a:gd name="connsiteY22" fmla="*/ 9485 h 10000"/>
              <a:gd name="connsiteX23" fmla="*/ 1074 w 10000"/>
              <a:gd name="connsiteY23" fmla="*/ 9743 h 10000"/>
              <a:gd name="connsiteX24" fmla="*/ 1101 w 10000"/>
              <a:gd name="connsiteY24" fmla="*/ 10000 h 10000"/>
              <a:gd name="connsiteX25" fmla="*/ 1101 w 10000"/>
              <a:gd name="connsiteY25" fmla="*/ 10000 h 10000"/>
              <a:gd name="connsiteX26" fmla="*/ 1113 w 10000"/>
              <a:gd name="connsiteY26" fmla="*/ 9884 h 10000"/>
              <a:gd name="connsiteX27" fmla="*/ 1131 w 10000"/>
              <a:gd name="connsiteY27" fmla="*/ 9743 h 10000"/>
              <a:gd name="connsiteX28" fmla="*/ 1157 w 10000"/>
              <a:gd name="connsiteY28" fmla="*/ 9562 h 10000"/>
              <a:gd name="connsiteX29" fmla="*/ 1190 w 10000"/>
              <a:gd name="connsiteY29" fmla="*/ 9344 h 10000"/>
              <a:gd name="connsiteX30" fmla="*/ 1231 w 10000"/>
              <a:gd name="connsiteY30" fmla="*/ 9112 h 10000"/>
              <a:gd name="connsiteX31" fmla="*/ 1282 w 10000"/>
              <a:gd name="connsiteY31" fmla="*/ 8842 h 10000"/>
              <a:gd name="connsiteX32" fmla="*/ 1338 w 10000"/>
              <a:gd name="connsiteY32" fmla="*/ 8571 h 10000"/>
              <a:gd name="connsiteX33" fmla="*/ 1404 w 10000"/>
              <a:gd name="connsiteY33" fmla="*/ 8301 h 10000"/>
              <a:gd name="connsiteX34" fmla="*/ 1442 w 10000"/>
              <a:gd name="connsiteY34" fmla="*/ 8160 h 10000"/>
              <a:gd name="connsiteX35" fmla="*/ 1481 w 10000"/>
              <a:gd name="connsiteY35" fmla="*/ 8031 h 10000"/>
              <a:gd name="connsiteX36" fmla="*/ 1519 w 10000"/>
              <a:gd name="connsiteY36" fmla="*/ 7902 h 10000"/>
              <a:gd name="connsiteX37" fmla="*/ 1564 w 10000"/>
              <a:gd name="connsiteY37" fmla="*/ 7773 h 10000"/>
              <a:gd name="connsiteX38" fmla="*/ 1608 w 10000"/>
              <a:gd name="connsiteY38" fmla="*/ 7645 h 10000"/>
              <a:gd name="connsiteX39" fmla="*/ 1659 w 10000"/>
              <a:gd name="connsiteY39" fmla="*/ 7529 h 10000"/>
              <a:gd name="connsiteX40" fmla="*/ 1706 w 10000"/>
              <a:gd name="connsiteY40" fmla="*/ 7413 h 10000"/>
              <a:gd name="connsiteX41" fmla="*/ 1760 w 10000"/>
              <a:gd name="connsiteY41" fmla="*/ 7310 h 10000"/>
              <a:gd name="connsiteX42" fmla="*/ 1816 w 10000"/>
              <a:gd name="connsiteY42" fmla="*/ 7220 h 10000"/>
              <a:gd name="connsiteX43" fmla="*/ 1872 w 10000"/>
              <a:gd name="connsiteY43" fmla="*/ 7130 h 10000"/>
              <a:gd name="connsiteX44" fmla="*/ 1932 w 10000"/>
              <a:gd name="connsiteY44" fmla="*/ 7066 h 10000"/>
              <a:gd name="connsiteX45" fmla="*/ 1997 w 10000"/>
              <a:gd name="connsiteY45" fmla="*/ 7001 h 10000"/>
              <a:gd name="connsiteX46" fmla="*/ 2062 w 10000"/>
              <a:gd name="connsiteY46" fmla="*/ 6950 h 10000"/>
              <a:gd name="connsiteX47" fmla="*/ 2128 w 10000"/>
              <a:gd name="connsiteY47" fmla="*/ 6911 h 10000"/>
              <a:gd name="connsiteX48" fmla="*/ 9012 w 10000"/>
              <a:gd name="connsiteY48" fmla="*/ 6911 h 10000"/>
              <a:gd name="connsiteX49" fmla="*/ 9012 w 10000"/>
              <a:gd name="connsiteY49" fmla="*/ 6911 h 10000"/>
              <a:gd name="connsiteX50" fmla="*/ 9039 w 10000"/>
              <a:gd name="connsiteY50" fmla="*/ 6911 h 10000"/>
              <a:gd name="connsiteX51" fmla="*/ 9071 w 10000"/>
              <a:gd name="connsiteY51" fmla="*/ 6911 h 10000"/>
              <a:gd name="connsiteX52" fmla="*/ 9110 w 10000"/>
              <a:gd name="connsiteY52" fmla="*/ 6898 h 10000"/>
              <a:gd name="connsiteX53" fmla="*/ 9163 w 10000"/>
              <a:gd name="connsiteY53" fmla="*/ 6873 h 10000"/>
              <a:gd name="connsiteX54" fmla="*/ 9220 w 10000"/>
              <a:gd name="connsiteY54" fmla="*/ 6821 h 10000"/>
              <a:gd name="connsiteX55" fmla="*/ 9285 w 10000"/>
              <a:gd name="connsiteY55" fmla="*/ 6757 h 10000"/>
              <a:gd name="connsiteX56" fmla="*/ 9356 w 10000"/>
              <a:gd name="connsiteY56" fmla="*/ 6654 h 10000"/>
              <a:gd name="connsiteX57" fmla="*/ 9433 w 10000"/>
              <a:gd name="connsiteY57" fmla="*/ 6512 h 10000"/>
              <a:gd name="connsiteX58" fmla="*/ 9472 w 10000"/>
              <a:gd name="connsiteY58" fmla="*/ 6422 h 10000"/>
              <a:gd name="connsiteX59" fmla="*/ 9510 w 10000"/>
              <a:gd name="connsiteY59" fmla="*/ 6332 h 10000"/>
              <a:gd name="connsiteX60" fmla="*/ 9552 w 10000"/>
              <a:gd name="connsiteY60" fmla="*/ 6229 h 10000"/>
              <a:gd name="connsiteX61" fmla="*/ 9593 w 10000"/>
              <a:gd name="connsiteY61" fmla="*/ 6113 h 10000"/>
              <a:gd name="connsiteX62" fmla="*/ 9635 w 10000"/>
              <a:gd name="connsiteY62" fmla="*/ 5985 h 10000"/>
              <a:gd name="connsiteX63" fmla="*/ 9677 w 10000"/>
              <a:gd name="connsiteY63" fmla="*/ 5843 h 10000"/>
              <a:gd name="connsiteX64" fmla="*/ 9718 w 10000"/>
              <a:gd name="connsiteY64" fmla="*/ 5689 h 10000"/>
              <a:gd name="connsiteX65" fmla="*/ 9757 w 10000"/>
              <a:gd name="connsiteY65" fmla="*/ 5521 h 10000"/>
              <a:gd name="connsiteX66" fmla="*/ 9798 w 10000"/>
              <a:gd name="connsiteY66" fmla="*/ 5328 h 10000"/>
              <a:gd name="connsiteX67" fmla="*/ 9840 w 10000"/>
              <a:gd name="connsiteY67" fmla="*/ 5135 h 10000"/>
              <a:gd name="connsiteX68" fmla="*/ 9878 w 10000"/>
              <a:gd name="connsiteY68" fmla="*/ 4916 h 10000"/>
              <a:gd name="connsiteX69" fmla="*/ 9917 w 10000"/>
              <a:gd name="connsiteY69" fmla="*/ 4685 h 10000"/>
              <a:gd name="connsiteX70" fmla="*/ 9955 w 10000"/>
              <a:gd name="connsiteY70" fmla="*/ 4440 h 10000"/>
              <a:gd name="connsiteX71" fmla="*/ 9994 w 10000"/>
              <a:gd name="connsiteY71" fmla="*/ 4170 h 10000"/>
              <a:gd name="connsiteX72" fmla="*/ 10000 w 10000"/>
              <a:gd name="connsiteY72" fmla="*/ 0 h 10000"/>
              <a:gd name="connsiteX73" fmla="*/ 219 w 10000"/>
              <a:gd name="connsiteY73" fmla="*/ 1089 h 10000"/>
              <a:gd name="connsiteX0" fmla="*/ 0 w 10003"/>
              <a:gd name="connsiteY0" fmla="*/ 316 h 10000"/>
              <a:gd name="connsiteX1" fmla="*/ 3 w 10003"/>
              <a:gd name="connsiteY1" fmla="*/ 6808 h 10000"/>
              <a:gd name="connsiteX2" fmla="*/ 3 w 10003"/>
              <a:gd name="connsiteY2" fmla="*/ 6808 h 10000"/>
              <a:gd name="connsiteX3" fmla="*/ 42 w 10003"/>
              <a:gd name="connsiteY3" fmla="*/ 6834 h 10000"/>
              <a:gd name="connsiteX4" fmla="*/ 83 w 10003"/>
              <a:gd name="connsiteY4" fmla="*/ 6860 h 10000"/>
              <a:gd name="connsiteX5" fmla="*/ 139 w 10003"/>
              <a:gd name="connsiteY5" fmla="*/ 6898 h 10000"/>
              <a:gd name="connsiteX6" fmla="*/ 208 w 10003"/>
              <a:gd name="connsiteY6" fmla="*/ 6963 h 10000"/>
              <a:gd name="connsiteX7" fmla="*/ 285 w 10003"/>
              <a:gd name="connsiteY7" fmla="*/ 7053 h 10000"/>
              <a:gd name="connsiteX8" fmla="*/ 371 w 10003"/>
              <a:gd name="connsiteY8" fmla="*/ 7169 h 10000"/>
              <a:gd name="connsiteX9" fmla="*/ 460 w 10003"/>
              <a:gd name="connsiteY9" fmla="*/ 7310 h 10000"/>
              <a:gd name="connsiteX10" fmla="*/ 555 w 10003"/>
              <a:gd name="connsiteY10" fmla="*/ 7490 h 10000"/>
              <a:gd name="connsiteX11" fmla="*/ 599 w 10003"/>
              <a:gd name="connsiteY11" fmla="*/ 7593 h 10000"/>
              <a:gd name="connsiteX12" fmla="*/ 647 w 10003"/>
              <a:gd name="connsiteY12" fmla="*/ 7709 h 10000"/>
              <a:gd name="connsiteX13" fmla="*/ 694 w 10003"/>
              <a:gd name="connsiteY13" fmla="*/ 7838 h 10000"/>
              <a:gd name="connsiteX14" fmla="*/ 739 w 10003"/>
              <a:gd name="connsiteY14" fmla="*/ 7967 h 10000"/>
              <a:gd name="connsiteX15" fmla="*/ 783 w 10003"/>
              <a:gd name="connsiteY15" fmla="*/ 8121 h 10000"/>
              <a:gd name="connsiteX16" fmla="*/ 828 w 10003"/>
              <a:gd name="connsiteY16" fmla="*/ 8275 h 10000"/>
              <a:gd name="connsiteX17" fmla="*/ 869 w 10003"/>
              <a:gd name="connsiteY17" fmla="*/ 8443 h 10000"/>
              <a:gd name="connsiteX18" fmla="*/ 911 w 10003"/>
              <a:gd name="connsiteY18" fmla="*/ 8623 h 10000"/>
              <a:gd name="connsiteX19" fmla="*/ 950 w 10003"/>
              <a:gd name="connsiteY19" fmla="*/ 8816 h 10000"/>
              <a:gd name="connsiteX20" fmla="*/ 985 w 10003"/>
              <a:gd name="connsiteY20" fmla="*/ 9022 h 10000"/>
              <a:gd name="connsiteX21" fmla="*/ 1018 w 10003"/>
              <a:gd name="connsiteY21" fmla="*/ 9254 h 10000"/>
              <a:gd name="connsiteX22" fmla="*/ 1050 w 10003"/>
              <a:gd name="connsiteY22" fmla="*/ 9485 h 10000"/>
              <a:gd name="connsiteX23" fmla="*/ 1077 w 10003"/>
              <a:gd name="connsiteY23" fmla="*/ 9743 h 10000"/>
              <a:gd name="connsiteX24" fmla="*/ 1104 w 10003"/>
              <a:gd name="connsiteY24" fmla="*/ 10000 h 10000"/>
              <a:gd name="connsiteX25" fmla="*/ 1104 w 10003"/>
              <a:gd name="connsiteY25" fmla="*/ 10000 h 10000"/>
              <a:gd name="connsiteX26" fmla="*/ 1116 w 10003"/>
              <a:gd name="connsiteY26" fmla="*/ 9884 h 10000"/>
              <a:gd name="connsiteX27" fmla="*/ 1134 w 10003"/>
              <a:gd name="connsiteY27" fmla="*/ 9743 h 10000"/>
              <a:gd name="connsiteX28" fmla="*/ 1160 w 10003"/>
              <a:gd name="connsiteY28" fmla="*/ 9562 h 10000"/>
              <a:gd name="connsiteX29" fmla="*/ 1193 w 10003"/>
              <a:gd name="connsiteY29" fmla="*/ 9344 h 10000"/>
              <a:gd name="connsiteX30" fmla="*/ 1234 w 10003"/>
              <a:gd name="connsiteY30" fmla="*/ 9112 h 10000"/>
              <a:gd name="connsiteX31" fmla="*/ 1285 w 10003"/>
              <a:gd name="connsiteY31" fmla="*/ 8842 h 10000"/>
              <a:gd name="connsiteX32" fmla="*/ 1341 w 10003"/>
              <a:gd name="connsiteY32" fmla="*/ 8571 h 10000"/>
              <a:gd name="connsiteX33" fmla="*/ 1407 w 10003"/>
              <a:gd name="connsiteY33" fmla="*/ 8301 h 10000"/>
              <a:gd name="connsiteX34" fmla="*/ 1445 w 10003"/>
              <a:gd name="connsiteY34" fmla="*/ 8160 h 10000"/>
              <a:gd name="connsiteX35" fmla="*/ 1484 w 10003"/>
              <a:gd name="connsiteY35" fmla="*/ 8031 h 10000"/>
              <a:gd name="connsiteX36" fmla="*/ 1522 w 10003"/>
              <a:gd name="connsiteY36" fmla="*/ 7902 h 10000"/>
              <a:gd name="connsiteX37" fmla="*/ 1567 w 10003"/>
              <a:gd name="connsiteY37" fmla="*/ 7773 h 10000"/>
              <a:gd name="connsiteX38" fmla="*/ 1611 w 10003"/>
              <a:gd name="connsiteY38" fmla="*/ 7645 h 10000"/>
              <a:gd name="connsiteX39" fmla="*/ 1662 w 10003"/>
              <a:gd name="connsiteY39" fmla="*/ 7529 h 10000"/>
              <a:gd name="connsiteX40" fmla="*/ 1709 w 10003"/>
              <a:gd name="connsiteY40" fmla="*/ 7413 h 10000"/>
              <a:gd name="connsiteX41" fmla="*/ 1763 w 10003"/>
              <a:gd name="connsiteY41" fmla="*/ 7310 h 10000"/>
              <a:gd name="connsiteX42" fmla="*/ 1819 w 10003"/>
              <a:gd name="connsiteY42" fmla="*/ 7220 h 10000"/>
              <a:gd name="connsiteX43" fmla="*/ 1875 w 10003"/>
              <a:gd name="connsiteY43" fmla="*/ 7130 h 10000"/>
              <a:gd name="connsiteX44" fmla="*/ 1935 w 10003"/>
              <a:gd name="connsiteY44" fmla="*/ 7066 h 10000"/>
              <a:gd name="connsiteX45" fmla="*/ 2000 w 10003"/>
              <a:gd name="connsiteY45" fmla="*/ 7001 h 10000"/>
              <a:gd name="connsiteX46" fmla="*/ 2065 w 10003"/>
              <a:gd name="connsiteY46" fmla="*/ 6950 h 10000"/>
              <a:gd name="connsiteX47" fmla="*/ 2131 w 10003"/>
              <a:gd name="connsiteY47" fmla="*/ 6911 h 10000"/>
              <a:gd name="connsiteX48" fmla="*/ 9015 w 10003"/>
              <a:gd name="connsiteY48" fmla="*/ 6911 h 10000"/>
              <a:gd name="connsiteX49" fmla="*/ 9015 w 10003"/>
              <a:gd name="connsiteY49" fmla="*/ 6911 h 10000"/>
              <a:gd name="connsiteX50" fmla="*/ 9042 w 10003"/>
              <a:gd name="connsiteY50" fmla="*/ 6911 h 10000"/>
              <a:gd name="connsiteX51" fmla="*/ 9074 w 10003"/>
              <a:gd name="connsiteY51" fmla="*/ 6911 h 10000"/>
              <a:gd name="connsiteX52" fmla="*/ 9113 w 10003"/>
              <a:gd name="connsiteY52" fmla="*/ 6898 h 10000"/>
              <a:gd name="connsiteX53" fmla="*/ 9166 w 10003"/>
              <a:gd name="connsiteY53" fmla="*/ 6873 h 10000"/>
              <a:gd name="connsiteX54" fmla="*/ 9223 w 10003"/>
              <a:gd name="connsiteY54" fmla="*/ 6821 h 10000"/>
              <a:gd name="connsiteX55" fmla="*/ 9288 w 10003"/>
              <a:gd name="connsiteY55" fmla="*/ 6757 h 10000"/>
              <a:gd name="connsiteX56" fmla="*/ 9359 w 10003"/>
              <a:gd name="connsiteY56" fmla="*/ 6654 h 10000"/>
              <a:gd name="connsiteX57" fmla="*/ 9436 w 10003"/>
              <a:gd name="connsiteY57" fmla="*/ 6512 h 10000"/>
              <a:gd name="connsiteX58" fmla="*/ 9475 w 10003"/>
              <a:gd name="connsiteY58" fmla="*/ 6422 h 10000"/>
              <a:gd name="connsiteX59" fmla="*/ 9513 w 10003"/>
              <a:gd name="connsiteY59" fmla="*/ 6332 h 10000"/>
              <a:gd name="connsiteX60" fmla="*/ 9555 w 10003"/>
              <a:gd name="connsiteY60" fmla="*/ 6229 h 10000"/>
              <a:gd name="connsiteX61" fmla="*/ 9596 w 10003"/>
              <a:gd name="connsiteY61" fmla="*/ 6113 h 10000"/>
              <a:gd name="connsiteX62" fmla="*/ 9638 w 10003"/>
              <a:gd name="connsiteY62" fmla="*/ 5985 h 10000"/>
              <a:gd name="connsiteX63" fmla="*/ 9680 w 10003"/>
              <a:gd name="connsiteY63" fmla="*/ 5843 h 10000"/>
              <a:gd name="connsiteX64" fmla="*/ 9721 w 10003"/>
              <a:gd name="connsiteY64" fmla="*/ 5689 h 10000"/>
              <a:gd name="connsiteX65" fmla="*/ 9760 w 10003"/>
              <a:gd name="connsiteY65" fmla="*/ 5521 h 10000"/>
              <a:gd name="connsiteX66" fmla="*/ 9801 w 10003"/>
              <a:gd name="connsiteY66" fmla="*/ 5328 h 10000"/>
              <a:gd name="connsiteX67" fmla="*/ 9843 w 10003"/>
              <a:gd name="connsiteY67" fmla="*/ 5135 h 10000"/>
              <a:gd name="connsiteX68" fmla="*/ 9881 w 10003"/>
              <a:gd name="connsiteY68" fmla="*/ 4916 h 10000"/>
              <a:gd name="connsiteX69" fmla="*/ 9920 w 10003"/>
              <a:gd name="connsiteY69" fmla="*/ 4685 h 10000"/>
              <a:gd name="connsiteX70" fmla="*/ 9958 w 10003"/>
              <a:gd name="connsiteY70" fmla="*/ 4440 h 10000"/>
              <a:gd name="connsiteX71" fmla="*/ 9997 w 10003"/>
              <a:gd name="connsiteY71" fmla="*/ 4170 h 10000"/>
              <a:gd name="connsiteX72" fmla="*/ 10003 w 10003"/>
              <a:gd name="connsiteY72" fmla="*/ 0 h 10000"/>
              <a:gd name="connsiteX73" fmla="*/ 0 w 10003"/>
              <a:gd name="connsiteY73" fmla="*/ 316 h 10000"/>
              <a:gd name="connsiteX0" fmla="*/ 0 w 9997"/>
              <a:gd name="connsiteY0" fmla="*/ 0 h 9684"/>
              <a:gd name="connsiteX1" fmla="*/ 3 w 9997"/>
              <a:gd name="connsiteY1" fmla="*/ 6492 h 9684"/>
              <a:gd name="connsiteX2" fmla="*/ 3 w 9997"/>
              <a:gd name="connsiteY2" fmla="*/ 6492 h 9684"/>
              <a:gd name="connsiteX3" fmla="*/ 42 w 9997"/>
              <a:gd name="connsiteY3" fmla="*/ 6518 h 9684"/>
              <a:gd name="connsiteX4" fmla="*/ 83 w 9997"/>
              <a:gd name="connsiteY4" fmla="*/ 6544 h 9684"/>
              <a:gd name="connsiteX5" fmla="*/ 139 w 9997"/>
              <a:gd name="connsiteY5" fmla="*/ 6582 h 9684"/>
              <a:gd name="connsiteX6" fmla="*/ 208 w 9997"/>
              <a:gd name="connsiteY6" fmla="*/ 6647 h 9684"/>
              <a:gd name="connsiteX7" fmla="*/ 285 w 9997"/>
              <a:gd name="connsiteY7" fmla="*/ 6737 h 9684"/>
              <a:gd name="connsiteX8" fmla="*/ 371 w 9997"/>
              <a:gd name="connsiteY8" fmla="*/ 6853 h 9684"/>
              <a:gd name="connsiteX9" fmla="*/ 460 w 9997"/>
              <a:gd name="connsiteY9" fmla="*/ 6994 h 9684"/>
              <a:gd name="connsiteX10" fmla="*/ 555 w 9997"/>
              <a:gd name="connsiteY10" fmla="*/ 7174 h 9684"/>
              <a:gd name="connsiteX11" fmla="*/ 599 w 9997"/>
              <a:gd name="connsiteY11" fmla="*/ 7277 h 9684"/>
              <a:gd name="connsiteX12" fmla="*/ 647 w 9997"/>
              <a:gd name="connsiteY12" fmla="*/ 7393 h 9684"/>
              <a:gd name="connsiteX13" fmla="*/ 694 w 9997"/>
              <a:gd name="connsiteY13" fmla="*/ 7522 h 9684"/>
              <a:gd name="connsiteX14" fmla="*/ 739 w 9997"/>
              <a:gd name="connsiteY14" fmla="*/ 7651 h 9684"/>
              <a:gd name="connsiteX15" fmla="*/ 783 w 9997"/>
              <a:gd name="connsiteY15" fmla="*/ 7805 h 9684"/>
              <a:gd name="connsiteX16" fmla="*/ 828 w 9997"/>
              <a:gd name="connsiteY16" fmla="*/ 7959 h 9684"/>
              <a:gd name="connsiteX17" fmla="*/ 869 w 9997"/>
              <a:gd name="connsiteY17" fmla="*/ 8127 h 9684"/>
              <a:gd name="connsiteX18" fmla="*/ 911 w 9997"/>
              <a:gd name="connsiteY18" fmla="*/ 8307 h 9684"/>
              <a:gd name="connsiteX19" fmla="*/ 950 w 9997"/>
              <a:gd name="connsiteY19" fmla="*/ 8500 h 9684"/>
              <a:gd name="connsiteX20" fmla="*/ 985 w 9997"/>
              <a:gd name="connsiteY20" fmla="*/ 8706 h 9684"/>
              <a:gd name="connsiteX21" fmla="*/ 1018 w 9997"/>
              <a:gd name="connsiteY21" fmla="*/ 8938 h 9684"/>
              <a:gd name="connsiteX22" fmla="*/ 1050 w 9997"/>
              <a:gd name="connsiteY22" fmla="*/ 9169 h 9684"/>
              <a:gd name="connsiteX23" fmla="*/ 1077 w 9997"/>
              <a:gd name="connsiteY23" fmla="*/ 9427 h 9684"/>
              <a:gd name="connsiteX24" fmla="*/ 1104 w 9997"/>
              <a:gd name="connsiteY24" fmla="*/ 9684 h 9684"/>
              <a:gd name="connsiteX25" fmla="*/ 1104 w 9997"/>
              <a:gd name="connsiteY25" fmla="*/ 9684 h 9684"/>
              <a:gd name="connsiteX26" fmla="*/ 1116 w 9997"/>
              <a:gd name="connsiteY26" fmla="*/ 9568 h 9684"/>
              <a:gd name="connsiteX27" fmla="*/ 1134 w 9997"/>
              <a:gd name="connsiteY27" fmla="*/ 9427 h 9684"/>
              <a:gd name="connsiteX28" fmla="*/ 1160 w 9997"/>
              <a:gd name="connsiteY28" fmla="*/ 9246 h 9684"/>
              <a:gd name="connsiteX29" fmla="*/ 1193 w 9997"/>
              <a:gd name="connsiteY29" fmla="*/ 9028 h 9684"/>
              <a:gd name="connsiteX30" fmla="*/ 1234 w 9997"/>
              <a:gd name="connsiteY30" fmla="*/ 8796 h 9684"/>
              <a:gd name="connsiteX31" fmla="*/ 1285 w 9997"/>
              <a:gd name="connsiteY31" fmla="*/ 8526 h 9684"/>
              <a:gd name="connsiteX32" fmla="*/ 1341 w 9997"/>
              <a:gd name="connsiteY32" fmla="*/ 8255 h 9684"/>
              <a:gd name="connsiteX33" fmla="*/ 1407 w 9997"/>
              <a:gd name="connsiteY33" fmla="*/ 7985 h 9684"/>
              <a:gd name="connsiteX34" fmla="*/ 1445 w 9997"/>
              <a:gd name="connsiteY34" fmla="*/ 7844 h 9684"/>
              <a:gd name="connsiteX35" fmla="*/ 1484 w 9997"/>
              <a:gd name="connsiteY35" fmla="*/ 7715 h 9684"/>
              <a:gd name="connsiteX36" fmla="*/ 1522 w 9997"/>
              <a:gd name="connsiteY36" fmla="*/ 7586 h 9684"/>
              <a:gd name="connsiteX37" fmla="*/ 1567 w 9997"/>
              <a:gd name="connsiteY37" fmla="*/ 7457 h 9684"/>
              <a:gd name="connsiteX38" fmla="*/ 1611 w 9997"/>
              <a:gd name="connsiteY38" fmla="*/ 7329 h 9684"/>
              <a:gd name="connsiteX39" fmla="*/ 1662 w 9997"/>
              <a:gd name="connsiteY39" fmla="*/ 7213 h 9684"/>
              <a:gd name="connsiteX40" fmla="*/ 1709 w 9997"/>
              <a:gd name="connsiteY40" fmla="*/ 7097 h 9684"/>
              <a:gd name="connsiteX41" fmla="*/ 1763 w 9997"/>
              <a:gd name="connsiteY41" fmla="*/ 6994 h 9684"/>
              <a:gd name="connsiteX42" fmla="*/ 1819 w 9997"/>
              <a:gd name="connsiteY42" fmla="*/ 6904 h 9684"/>
              <a:gd name="connsiteX43" fmla="*/ 1875 w 9997"/>
              <a:gd name="connsiteY43" fmla="*/ 6814 h 9684"/>
              <a:gd name="connsiteX44" fmla="*/ 1935 w 9997"/>
              <a:gd name="connsiteY44" fmla="*/ 6750 h 9684"/>
              <a:gd name="connsiteX45" fmla="*/ 2000 w 9997"/>
              <a:gd name="connsiteY45" fmla="*/ 6685 h 9684"/>
              <a:gd name="connsiteX46" fmla="*/ 2065 w 9997"/>
              <a:gd name="connsiteY46" fmla="*/ 6634 h 9684"/>
              <a:gd name="connsiteX47" fmla="*/ 2131 w 9997"/>
              <a:gd name="connsiteY47" fmla="*/ 6595 h 9684"/>
              <a:gd name="connsiteX48" fmla="*/ 9015 w 9997"/>
              <a:gd name="connsiteY48" fmla="*/ 6595 h 9684"/>
              <a:gd name="connsiteX49" fmla="*/ 9015 w 9997"/>
              <a:gd name="connsiteY49" fmla="*/ 6595 h 9684"/>
              <a:gd name="connsiteX50" fmla="*/ 9042 w 9997"/>
              <a:gd name="connsiteY50" fmla="*/ 6595 h 9684"/>
              <a:gd name="connsiteX51" fmla="*/ 9074 w 9997"/>
              <a:gd name="connsiteY51" fmla="*/ 6595 h 9684"/>
              <a:gd name="connsiteX52" fmla="*/ 9113 w 9997"/>
              <a:gd name="connsiteY52" fmla="*/ 6582 h 9684"/>
              <a:gd name="connsiteX53" fmla="*/ 9166 w 9997"/>
              <a:gd name="connsiteY53" fmla="*/ 6557 h 9684"/>
              <a:gd name="connsiteX54" fmla="*/ 9223 w 9997"/>
              <a:gd name="connsiteY54" fmla="*/ 6505 h 9684"/>
              <a:gd name="connsiteX55" fmla="*/ 9288 w 9997"/>
              <a:gd name="connsiteY55" fmla="*/ 6441 h 9684"/>
              <a:gd name="connsiteX56" fmla="*/ 9359 w 9997"/>
              <a:gd name="connsiteY56" fmla="*/ 6338 h 9684"/>
              <a:gd name="connsiteX57" fmla="*/ 9436 w 9997"/>
              <a:gd name="connsiteY57" fmla="*/ 6196 h 9684"/>
              <a:gd name="connsiteX58" fmla="*/ 9475 w 9997"/>
              <a:gd name="connsiteY58" fmla="*/ 6106 h 9684"/>
              <a:gd name="connsiteX59" fmla="*/ 9513 w 9997"/>
              <a:gd name="connsiteY59" fmla="*/ 6016 h 9684"/>
              <a:gd name="connsiteX60" fmla="*/ 9555 w 9997"/>
              <a:gd name="connsiteY60" fmla="*/ 5913 h 9684"/>
              <a:gd name="connsiteX61" fmla="*/ 9596 w 9997"/>
              <a:gd name="connsiteY61" fmla="*/ 5797 h 9684"/>
              <a:gd name="connsiteX62" fmla="*/ 9638 w 9997"/>
              <a:gd name="connsiteY62" fmla="*/ 5669 h 9684"/>
              <a:gd name="connsiteX63" fmla="*/ 9680 w 9997"/>
              <a:gd name="connsiteY63" fmla="*/ 5527 h 9684"/>
              <a:gd name="connsiteX64" fmla="*/ 9721 w 9997"/>
              <a:gd name="connsiteY64" fmla="*/ 5373 h 9684"/>
              <a:gd name="connsiteX65" fmla="*/ 9760 w 9997"/>
              <a:gd name="connsiteY65" fmla="*/ 5205 h 9684"/>
              <a:gd name="connsiteX66" fmla="*/ 9801 w 9997"/>
              <a:gd name="connsiteY66" fmla="*/ 5012 h 9684"/>
              <a:gd name="connsiteX67" fmla="*/ 9843 w 9997"/>
              <a:gd name="connsiteY67" fmla="*/ 4819 h 9684"/>
              <a:gd name="connsiteX68" fmla="*/ 9881 w 9997"/>
              <a:gd name="connsiteY68" fmla="*/ 4600 h 9684"/>
              <a:gd name="connsiteX69" fmla="*/ 9920 w 9997"/>
              <a:gd name="connsiteY69" fmla="*/ 4369 h 9684"/>
              <a:gd name="connsiteX70" fmla="*/ 9958 w 9997"/>
              <a:gd name="connsiteY70" fmla="*/ 4124 h 9684"/>
              <a:gd name="connsiteX71" fmla="*/ 9997 w 9997"/>
              <a:gd name="connsiteY71" fmla="*/ 3854 h 9684"/>
              <a:gd name="connsiteX72" fmla="*/ 9736 w 9997"/>
              <a:gd name="connsiteY72" fmla="*/ 0 h 9684"/>
              <a:gd name="connsiteX73" fmla="*/ 0 w 9997"/>
              <a:gd name="connsiteY73" fmla="*/ 0 h 9684"/>
              <a:gd name="connsiteX0" fmla="*/ 0 w 10006"/>
              <a:gd name="connsiteY0" fmla="*/ 0 h 10000"/>
              <a:gd name="connsiteX1" fmla="*/ 3 w 10006"/>
              <a:gd name="connsiteY1" fmla="*/ 6704 h 10000"/>
              <a:gd name="connsiteX2" fmla="*/ 3 w 10006"/>
              <a:gd name="connsiteY2" fmla="*/ 6704 h 10000"/>
              <a:gd name="connsiteX3" fmla="*/ 42 w 10006"/>
              <a:gd name="connsiteY3" fmla="*/ 6731 h 10000"/>
              <a:gd name="connsiteX4" fmla="*/ 83 w 10006"/>
              <a:gd name="connsiteY4" fmla="*/ 6758 h 10000"/>
              <a:gd name="connsiteX5" fmla="*/ 139 w 10006"/>
              <a:gd name="connsiteY5" fmla="*/ 6797 h 10000"/>
              <a:gd name="connsiteX6" fmla="*/ 208 w 10006"/>
              <a:gd name="connsiteY6" fmla="*/ 6864 h 10000"/>
              <a:gd name="connsiteX7" fmla="*/ 285 w 10006"/>
              <a:gd name="connsiteY7" fmla="*/ 6957 h 10000"/>
              <a:gd name="connsiteX8" fmla="*/ 371 w 10006"/>
              <a:gd name="connsiteY8" fmla="*/ 7077 h 10000"/>
              <a:gd name="connsiteX9" fmla="*/ 460 w 10006"/>
              <a:gd name="connsiteY9" fmla="*/ 7222 h 10000"/>
              <a:gd name="connsiteX10" fmla="*/ 555 w 10006"/>
              <a:gd name="connsiteY10" fmla="*/ 7408 h 10000"/>
              <a:gd name="connsiteX11" fmla="*/ 599 w 10006"/>
              <a:gd name="connsiteY11" fmla="*/ 7514 h 10000"/>
              <a:gd name="connsiteX12" fmla="*/ 647 w 10006"/>
              <a:gd name="connsiteY12" fmla="*/ 7634 h 10000"/>
              <a:gd name="connsiteX13" fmla="*/ 694 w 10006"/>
              <a:gd name="connsiteY13" fmla="*/ 7767 h 10000"/>
              <a:gd name="connsiteX14" fmla="*/ 739 w 10006"/>
              <a:gd name="connsiteY14" fmla="*/ 7901 h 10000"/>
              <a:gd name="connsiteX15" fmla="*/ 783 w 10006"/>
              <a:gd name="connsiteY15" fmla="*/ 8060 h 10000"/>
              <a:gd name="connsiteX16" fmla="*/ 828 w 10006"/>
              <a:gd name="connsiteY16" fmla="*/ 8219 h 10000"/>
              <a:gd name="connsiteX17" fmla="*/ 869 w 10006"/>
              <a:gd name="connsiteY17" fmla="*/ 8392 h 10000"/>
              <a:gd name="connsiteX18" fmla="*/ 911 w 10006"/>
              <a:gd name="connsiteY18" fmla="*/ 8578 h 10000"/>
              <a:gd name="connsiteX19" fmla="*/ 950 w 10006"/>
              <a:gd name="connsiteY19" fmla="*/ 8777 h 10000"/>
              <a:gd name="connsiteX20" fmla="*/ 985 w 10006"/>
              <a:gd name="connsiteY20" fmla="*/ 8990 h 10000"/>
              <a:gd name="connsiteX21" fmla="*/ 1018 w 10006"/>
              <a:gd name="connsiteY21" fmla="*/ 9230 h 10000"/>
              <a:gd name="connsiteX22" fmla="*/ 1050 w 10006"/>
              <a:gd name="connsiteY22" fmla="*/ 9468 h 10000"/>
              <a:gd name="connsiteX23" fmla="*/ 1077 w 10006"/>
              <a:gd name="connsiteY23" fmla="*/ 9735 h 10000"/>
              <a:gd name="connsiteX24" fmla="*/ 1104 w 10006"/>
              <a:gd name="connsiteY24" fmla="*/ 10000 h 10000"/>
              <a:gd name="connsiteX25" fmla="*/ 1104 w 10006"/>
              <a:gd name="connsiteY25" fmla="*/ 10000 h 10000"/>
              <a:gd name="connsiteX26" fmla="*/ 1116 w 10006"/>
              <a:gd name="connsiteY26" fmla="*/ 9880 h 10000"/>
              <a:gd name="connsiteX27" fmla="*/ 1134 w 10006"/>
              <a:gd name="connsiteY27" fmla="*/ 9735 h 10000"/>
              <a:gd name="connsiteX28" fmla="*/ 1160 w 10006"/>
              <a:gd name="connsiteY28" fmla="*/ 9548 h 10000"/>
              <a:gd name="connsiteX29" fmla="*/ 1193 w 10006"/>
              <a:gd name="connsiteY29" fmla="*/ 9323 h 10000"/>
              <a:gd name="connsiteX30" fmla="*/ 1234 w 10006"/>
              <a:gd name="connsiteY30" fmla="*/ 9083 h 10000"/>
              <a:gd name="connsiteX31" fmla="*/ 1285 w 10006"/>
              <a:gd name="connsiteY31" fmla="*/ 8804 h 10000"/>
              <a:gd name="connsiteX32" fmla="*/ 1341 w 10006"/>
              <a:gd name="connsiteY32" fmla="*/ 8524 h 10000"/>
              <a:gd name="connsiteX33" fmla="*/ 1407 w 10006"/>
              <a:gd name="connsiteY33" fmla="*/ 8246 h 10000"/>
              <a:gd name="connsiteX34" fmla="*/ 1445 w 10006"/>
              <a:gd name="connsiteY34" fmla="*/ 8100 h 10000"/>
              <a:gd name="connsiteX35" fmla="*/ 1484 w 10006"/>
              <a:gd name="connsiteY35" fmla="*/ 7967 h 10000"/>
              <a:gd name="connsiteX36" fmla="*/ 1522 w 10006"/>
              <a:gd name="connsiteY36" fmla="*/ 7834 h 10000"/>
              <a:gd name="connsiteX37" fmla="*/ 1567 w 10006"/>
              <a:gd name="connsiteY37" fmla="*/ 7700 h 10000"/>
              <a:gd name="connsiteX38" fmla="*/ 1611 w 10006"/>
              <a:gd name="connsiteY38" fmla="*/ 7568 h 10000"/>
              <a:gd name="connsiteX39" fmla="*/ 1662 w 10006"/>
              <a:gd name="connsiteY39" fmla="*/ 7448 h 10000"/>
              <a:gd name="connsiteX40" fmla="*/ 1710 w 10006"/>
              <a:gd name="connsiteY40" fmla="*/ 7329 h 10000"/>
              <a:gd name="connsiteX41" fmla="*/ 1764 w 10006"/>
              <a:gd name="connsiteY41" fmla="*/ 7222 h 10000"/>
              <a:gd name="connsiteX42" fmla="*/ 1820 w 10006"/>
              <a:gd name="connsiteY42" fmla="*/ 7129 h 10000"/>
              <a:gd name="connsiteX43" fmla="*/ 1876 w 10006"/>
              <a:gd name="connsiteY43" fmla="*/ 7036 h 10000"/>
              <a:gd name="connsiteX44" fmla="*/ 1936 w 10006"/>
              <a:gd name="connsiteY44" fmla="*/ 6970 h 10000"/>
              <a:gd name="connsiteX45" fmla="*/ 2001 w 10006"/>
              <a:gd name="connsiteY45" fmla="*/ 6903 h 10000"/>
              <a:gd name="connsiteX46" fmla="*/ 2066 w 10006"/>
              <a:gd name="connsiteY46" fmla="*/ 6850 h 10000"/>
              <a:gd name="connsiteX47" fmla="*/ 2132 w 10006"/>
              <a:gd name="connsiteY47" fmla="*/ 6810 h 10000"/>
              <a:gd name="connsiteX48" fmla="*/ 9018 w 10006"/>
              <a:gd name="connsiteY48" fmla="*/ 6810 h 10000"/>
              <a:gd name="connsiteX49" fmla="*/ 9018 w 10006"/>
              <a:gd name="connsiteY49" fmla="*/ 6810 h 10000"/>
              <a:gd name="connsiteX50" fmla="*/ 9045 w 10006"/>
              <a:gd name="connsiteY50" fmla="*/ 6810 h 10000"/>
              <a:gd name="connsiteX51" fmla="*/ 9077 w 10006"/>
              <a:gd name="connsiteY51" fmla="*/ 6810 h 10000"/>
              <a:gd name="connsiteX52" fmla="*/ 9116 w 10006"/>
              <a:gd name="connsiteY52" fmla="*/ 6797 h 10000"/>
              <a:gd name="connsiteX53" fmla="*/ 9169 w 10006"/>
              <a:gd name="connsiteY53" fmla="*/ 6771 h 10000"/>
              <a:gd name="connsiteX54" fmla="*/ 9226 w 10006"/>
              <a:gd name="connsiteY54" fmla="*/ 6717 h 10000"/>
              <a:gd name="connsiteX55" fmla="*/ 9291 w 10006"/>
              <a:gd name="connsiteY55" fmla="*/ 6651 h 10000"/>
              <a:gd name="connsiteX56" fmla="*/ 9362 w 10006"/>
              <a:gd name="connsiteY56" fmla="*/ 6545 h 10000"/>
              <a:gd name="connsiteX57" fmla="*/ 9439 w 10006"/>
              <a:gd name="connsiteY57" fmla="*/ 6398 h 10000"/>
              <a:gd name="connsiteX58" fmla="*/ 9478 w 10006"/>
              <a:gd name="connsiteY58" fmla="*/ 6305 h 10000"/>
              <a:gd name="connsiteX59" fmla="*/ 9516 w 10006"/>
              <a:gd name="connsiteY59" fmla="*/ 6212 h 10000"/>
              <a:gd name="connsiteX60" fmla="*/ 9558 w 10006"/>
              <a:gd name="connsiteY60" fmla="*/ 6106 h 10000"/>
              <a:gd name="connsiteX61" fmla="*/ 9599 w 10006"/>
              <a:gd name="connsiteY61" fmla="*/ 5986 h 10000"/>
              <a:gd name="connsiteX62" fmla="*/ 9641 w 10006"/>
              <a:gd name="connsiteY62" fmla="*/ 5854 h 10000"/>
              <a:gd name="connsiteX63" fmla="*/ 9683 w 10006"/>
              <a:gd name="connsiteY63" fmla="*/ 5707 h 10000"/>
              <a:gd name="connsiteX64" fmla="*/ 9724 w 10006"/>
              <a:gd name="connsiteY64" fmla="*/ 5548 h 10000"/>
              <a:gd name="connsiteX65" fmla="*/ 9763 w 10006"/>
              <a:gd name="connsiteY65" fmla="*/ 5375 h 10000"/>
              <a:gd name="connsiteX66" fmla="*/ 9804 w 10006"/>
              <a:gd name="connsiteY66" fmla="*/ 5176 h 10000"/>
              <a:gd name="connsiteX67" fmla="*/ 9846 w 10006"/>
              <a:gd name="connsiteY67" fmla="*/ 4976 h 10000"/>
              <a:gd name="connsiteX68" fmla="*/ 9884 w 10006"/>
              <a:gd name="connsiteY68" fmla="*/ 4750 h 10000"/>
              <a:gd name="connsiteX69" fmla="*/ 9923 w 10006"/>
              <a:gd name="connsiteY69" fmla="*/ 4512 h 10000"/>
              <a:gd name="connsiteX70" fmla="*/ 9961 w 10006"/>
              <a:gd name="connsiteY70" fmla="*/ 4259 h 10000"/>
              <a:gd name="connsiteX71" fmla="*/ 10000 w 10006"/>
              <a:gd name="connsiteY71" fmla="*/ 3980 h 10000"/>
              <a:gd name="connsiteX72" fmla="*/ 10006 w 10006"/>
              <a:gd name="connsiteY72" fmla="*/ 0 h 10000"/>
              <a:gd name="connsiteX73" fmla="*/ 0 w 10006"/>
              <a:gd name="connsiteY73" fmla="*/ 0 h 10000"/>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943 h 10943"/>
              <a:gd name="connsiteX73" fmla="*/ 0 w 10006"/>
              <a:gd name="connsiteY73" fmla="*/ 0 h 10943"/>
              <a:gd name="connsiteX0" fmla="*/ 0 w 10006"/>
              <a:gd name="connsiteY0" fmla="*/ 0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0 h 10943"/>
              <a:gd name="connsiteX0" fmla="*/ 387 w 10004"/>
              <a:gd name="connsiteY0" fmla="*/ 2031 h 10943"/>
              <a:gd name="connsiteX1" fmla="*/ 1 w 10004"/>
              <a:gd name="connsiteY1" fmla="*/ 7647 h 10943"/>
              <a:gd name="connsiteX2" fmla="*/ 1 w 10004"/>
              <a:gd name="connsiteY2" fmla="*/ 7647 h 10943"/>
              <a:gd name="connsiteX3" fmla="*/ 40 w 10004"/>
              <a:gd name="connsiteY3" fmla="*/ 7674 h 10943"/>
              <a:gd name="connsiteX4" fmla="*/ 81 w 10004"/>
              <a:gd name="connsiteY4" fmla="*/ 7701 h 10943"/>
              <a:gd name="connsiteX5" fmla="*/ 137 w 10004"/>
              <a:gd name="connsiteY5" fmla="*/ 7740 h 10943"/>
              <a:gd name="connsiteX6" fmla="*/ 206 w 10004"/>
              <a:gd name="connsiteY6" fmla="*/ 7807 h 10943"/>
              <a:gd name="connsiteX7" fmla="*/ 283 w 10004"/>
              <a:gd name="connsiteY7" fmla="*/ 7900 h 10943"/>
              <a:gd name="connsiteX8" fmla="*/ 369 w 10004"/>
              <a:gd name="connsiteY8" fmla="*/ 8020 h 10943"/>
              <a:gd name="connsiteX9" fmla="*/ 458 w 10004"/>
              <a:gd name="connsiteY9" fmla="*/ 8165 h 10943"/>
              <a:gd name="connsiteX10" fmla="*/ 553 w 10004"/>
              <a:gd name="connsiteY10" fmla="*/ 8351 h 10943"/>
              <a:gd name="connsiteX11" fmla="*/ 597 w 10004"/>
              <a:gd name="connsiteY11" fmla="*/ 8457 h 10943"/>
              <a:gd name="connsiteX12" fmla="*/ 645 w 10004"/>
              <a:gd name="connsiteY12" fmla="*/ 8577 h 10943"/>
              <a:gd name="connsiteX13" fmla="*/ 692 w 10004"/>
              <a:gd name="connsiteY13" fmla="*/ 8710 h 10943"/>
              <a:gd name="connsiteX14" fmla="*/ 737 w 10004"/>
              <a:gd name="connsiteY14" fmla="*/ 8844 h 10943"/>
              <a:gd name="connsiteX15" fmla="*/ 781 w 10004"/>
              <a:gd name="connsiteY15" fmla="*/ 9003 h 10943"/>
              <a:gd name="connsiteX16" fmla="*/ 826 w 10004"/>
              <a:gd name="connsiteY16" fmla="*/ 9162 h 10943"/>
              <a:gd name="connsiteX17" fmla="*/ 867 w 10004"/>
              <a:gd name="connsiteY17" fmla="*/ 9335 h 10943"/>
              <a:gd name="connsiteX18" fmla="*/ 909 w 10004"/>
              <a:gd name="connsiteY18" fmla="*/ 9521 h 10943"/>
              <a:gd name="connsiteX19" fmla="*/ 948 w 10004"/>
              <a:gd name="connsiteY19" fmla="*/ 9720 h 10943"/>
              <a:gd name="connsiteX20" fmla="*/ 983 w 10004"/>
              <a:gd name="connsiteY20" fmla="*/ 9933 h 10943"/>
              <a:gd name="connsiteX21" fmla="*/ 1016 w 10004"/>
              <a:gd name="connsiteY21" fmla="*/ 10173 h 10943"/>
              <a:gd name="connsiteX22" fmla="*/ 1048 w 10004"/>
              <a:gd name="connsiteY22" fmla="*/ 10411 h 10943"/>
              <a:gd name="connsiteX23" fmla="*/ 1075 w 10004"/>
              <a:gd name="connsiteY23" fmla="*/ 10678 h 10943"/>
              <a:gd name="connsiteX24" fmla="*/ 1102 w 10004"/>
              <a:gd name="connsiteY24" fmla="*/ 10943 h 10943"/>
              <a:gd name="connsiteX25" fmla="*/ 1102 w 10004"/>
              <a:gd name="connsiteY25" fmla="*/ 10943 h 10943"/>
              <a:gd name="connsiteX26" fmla="*/ 1114 w 10004"/>
              <a:gd name="connsiteY26" fmla="*/ 10823 h 10943"/>
              <a:gd name="connsiteX27" fmla="*/ 1132 w 10004"/>
              <a:gd name="connsiteY27" fmla="*/ 10678 h 10943"/>
              <a:gd name="connsiteX28" fmla="*/ 1158 w 10004"/>
              <a:gd name="connsiteY28" fmla="*/ 10491 h 10943"/>
              <a:gd name="connsiteX29" fmla="*/ 1191 w 10004"/>
              <a:gd name="connsiteY29" fmla="*/ 10266 h 10943"/>
              <a:gd name="connsiteX30" fmla="*/ 1232 w 10004"/>
              <a:gd name="connsiteY30" fmla="*/ 10026 h 10943"/>
              <a:gd name="connsiteX31" fmla="*/ 1283 w 10004"/>
              <a:gd name="connsiteY31" fmla="*/ 9747 h 10943"/>
              <a:gd name="connsiteX32" fmla="*/ 1339 w 10004"/>
              <a:gd name="connsiteY32" fmla="*/ 9467 h 10943"/>
              <a:gd name="connsiteX33" fmla="*/ 1405 w 10004"/>
              <a:gd name="connsiteY33" fmla="*/ 9189 h 10943"/>
              <a:gd name="connsiteX34" fmla="*/ 1443 w 10004"/>
              <a:gd name="connsiteY34" fmla="*/ 9043 h 10943"/>
              <a:gd name="connsiteX35" fmla="*/ 1482 w 10004"/>
              <a:gd name="connsiteY35" fmla="*/ 8910 h 10943"/>
              <a:gd name="connsiteX36" fmla="*/ 1520 w 10004"/>
              <a:gd name="connsiteY36" fmla="*/ 8777 h 10943"/>
              <a:gd name="connsiteX37" fmla="*/ 1565 w 10004"/>
              <a:gd name="connsiteY37" fmla="*/ 8643 h 10943"/>
              <a:gd name="connsiteX38" fmla="*/ 1609 w 10004"/>
              <a:gd name="connsiteY38" fmla="*/ 8511 h 10943"/>
              <a:gd name="connsiteX39" fmla="*/ 1660 w 10004"/>
              <a:gd name="connsiteY39" fmla="*/ 8391 h 10943"/>
              <a:gd name="connsiteX40" fmla="*/ 1708 w 10004"/>
              <a:gd name="connsiteY40" fmla="*/ 8272 h 10943"/>
              <a:gd name="connsiteX41" fmla="*/ 1762 w 10004"/>
              <a:gd name="connsiteY41" fmla="*/ 8165 h 10943"/>
              <a:gd name="connsiteX42" fmla="*/ 1818 w 10004"/>
              <a:gd name="connsiteY42" fmla="*/ 8072 h 10943"/>
              <a:gd name="connsiteX43" fmla="*/ 1874 w 10004"/>
              <a:gd name="connsiteY43" fmla="*/ 7979 h 10943"/>
              <a:gd name="connsiteX44" fmla="*/ 1934 w 10004"/>
              <a:gd name="connsiteY44" fmla="*/ 7913 h 10943"/>
              <a:gd name="connsiteX45" fmla="*/ 1999 w 10004"/>
              <a:gd name="connsiteY45" fmla="*/ 7846 h 10943"/>
              <a:gd name="connsiteX46" fmla="*/ 2064 w 10004"/>
              <a:gd name="connsiteY46" fmla="*/ 7793 h 10943"/>
              <a:gd name="connsiteX47" fmla="*/ 2130 w 10004"/>
              <a:gd name="connsiteY47" fmla="*/ 7753 h 10943"/>
              <a:gd name="connsiteX48" fmla="*/ 9016 w 10004"/>
              <a:gd name="connsiteY48" fmla="*/ 7753 h 10943"/>
              <a:gd name="connsiteX49" fmla="*/ 9016 w 10004"/>
              <a:gd name="connsiteY49" fmla="*/ 7753 h 10943"/>
              <a:gd name="connsiteX50" fmla="*/ 9043 w 10004"/>
              <a:gd name="connsiteY50" fmla="*/ 7753 h 10943"/>
              <a:gd name="connsiteX51" fmla="*/ 9075 w 10004"/>
              <a:gd name="connsiteY51" fmla="*/ 7753 h 10943"/>
              <a:gd name="connsiteX52" fmla="*/ 9114 w 10004"/>
              <a:gd name="connsiteY52" fmla="*/ 7740 h 10943"/>
              <a:gd name="connsiteX53" fmla="*/ 9167 w 10004"/>
              <a:gd name="connsiteY53" fmla="*/ 7714 h 10943"/>
              <a:gd name="connsiteX54" fmla="*/ 9224 w 10004"/>
              <a:gd name="connsiteY54" fmla="*/ 7660 h 10943"/>
              <a:gd name="connsiteX55" fmla="*/ 9289 w 10004"/>
              <a:gd name="connsiteY55" fmla="*/ 7594 h 10943"/>
              <a:gd name="connsiteX56" fmla="*/ 9360 w 10004"/>
              <a:gd name="connsiteY56" fmla="*/ 7488 h 10943"/>
              <a:gd name="connsiteX57" fmla="*/ 9437 w 10004"/>
              <a:gd name="connsiteY57" fmla="*/ 7341 h 10943"/>
              <a:gd name="connsiteX58" fmla="*/ 9476 w 10004"/>
              <a:gd name="connsiteY58" fmla="*/ 7248 h 10943"/>
              <a:gd name="connsiteX59" fmla="*/ 9514 w 10004"/>
              <a:gd name="connsiteY59" fmla="*/ 7155 h 10943"/>
              <a:gd name="connsiteX60" fmla="*/ 9556 w 10004"/>
              <a:gd name="connsiteY60" fmla="*/ 7049 h 10943"/>
              <a:gd name="connsiteX61" fmla="*/ 9597 w 10004"/>
              <a:gd name="connsiteY61" fmla="*/ 6929 h 10943"/>
              <a:gd name="connsiteX62" fmla="*/ 9639 w 10004"/>
              <a:gd name="connsiteY62" fmla="*/ 6797 h 10943"/>
              <a:gd name="connsiteX63" fmla="*/ 9681 w 10004"/>
              <a:gd name="connsiteY63" fmla="*/ 6650 h 10943"/>
              <a:gd name="connsiteX64" fmla="*/ 9722 w 10004"/>
              <a:gd name="connsiteY64" fmla="*/ 6491 h 10943"/>
              <a:gd name="connsiteX65" fmla="*/ 9761 w 10004"/>
              <a:gd name="connsiteY65" fmla="*/ 6318 h 10943"/>
              <a:gd name="connsiteX66" fmla="*/ 9802 w 10004"/>
              <a:gd name="connsiteY66" fmla="*/ 6119 h 10943"/>
              <a:gd name="connsiteX67" fmla="*/ 9844 w 10004"/>
              <a:gd name="connsiteY67" fmla="*/ 5919 h 10943"/>
              <a:gd name="connsiteX68" fmla="*/ 9882 w 10004"/>
              <a:gd name="connsiteY68" fmla="*/ 5693 h 10943"/>
              <a:gd name="connsiteX69" fmla="*/ 9921 w 10004"/>
              <a:gd name="connsiteY69" fmla="*/ 5455 h 10943"/>
              <a:gd name="connsiteX70" fmla="*/ 9959 w 10004"/>
              <a:gd name="connsiteY70" fmla="*/ 5202 h 10943"/>
              <a:gd name="connsiteX71" fmla="*/ 9998 w 10004"/>
              <a:gd name="connsiteY71" fmla="*/ 4923 h 10943"/>
              <a:gd name="connsiteX72" fmla="*/ 10004 w 10004"/>
              <a:gd name="connsiteY72" fmla="*/ 0 h 10943"/>
              <a:gd name="connsiteX73" fmla="*/ 387 w 10004"/>
              <a:gd name="connsiteY73" fmla="*/ 2031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6"/>
              <a:gd name="connsiteY0" fmla="*/ 435 h 10943"/>
              <a:gd name="connsiteX1" fmla="*/ 3 w 10006"/>
              <a:gd name="connsiteY1" fmla="*/ 7647 h 10943"/>
              <a:gd name="connsiteX2" fmla="*/ 3 w 10006"/>
              <a:gd name="connsiteY2" fmla="*/ 7647 h 10943"/>
              <a:gd name="connsiteX3" fmla="*/ 42 w 10006"/>
              <a:gd name="connsiteY3" fmla="*/ 7674 h 10943"/>
              <a:gd name="connsiteX4" fmla="*/ 83 w 10006"/>
              <a:gd name="connsiteY4" fmla="*/ 7701 h 10943"/>
              <a:gd name="connsiteX5" fmla="*/ 139 w 10006"/>
              <a:gd name="connsiteY5" fmla="*/ 7740 h 10943"/>
              <a:gd name="connsiteX6" fmla="*/ 208 w 10006"/>
              <a:gd name="connsiteY6" fmla="*/ 7807 h 10943"/>
              <a:gd name="connsiteX7" fmla="*/ 285 w 10006"/>
              <a:gd name="connsiteY7" fmla="*/ 7900 h 10943"/>
              <a:gd name="connsiteX8" fmla="*/ 371 w 10006"/>
              <a:gd name="connsiteY8" fmla="*/ 8020 h 10943"/>
              <a:gd name="connsiteX9" fmla="*/ 460 w 10006"/>
              <a:gd name="connsiteY9" fmla="*/ 8165 h 10943"/>
              <a:gd name="connsiteX10" fmla="*/ 555 w 10006"/>
              <a:gd name="connsiteY10" fmla="*/ 8351 h 10943"/>
              <a:gd name="connsiteX11" fmla="*/ 599 w 10006"/>
              <a:gd name="connsiteY11" fmla="*/ 8457 h 10943"/>
              <a:gd name="connsiteX12" fmla="*/ 647 w 10006"/>
              <a:gd name="connsiteY12" fmla="*/ 8577 h 10943"/>
              <a:gd name="connsiteX13" fmla="*/ 694 w 10006"/>
              <a:gd name="connsiteY13" fmla="*/ 8710 h 10943"/>
              <a:gd name="connsiteX14" fmla="*/ 739 w 10006"/>
              <a:gd name="connsiteY14" fmla="*/ 8844 h 10943"/>
              <a:gd name="connsiteX15" fmla="*/ 783 w 10006"/>
              <a:gd name="connsiteY15" fmla="*/ 9003 h 10943"/>
              <a:gd name="connsiteX16" fmla="*/ 828 w 10006"/>
              <a:gd name="connsiteY16" fmla="*/ 9162 h 10943"/>
              <a:gd name="connsiteX17" fmla="*/ 869 w 10006"/>
              <a:gd name="connsiteY17" fmla="*/ 9335 h 10943"/>
              <a:gd name="connsiteX18" fmla="*/ 911 w 10006"/>
              <a:gd name="connsiteY18" fmla="*/ 9521 h 10943"/>
              <a:gd name="connsiteX19" fmla="*/ 950 w 10006"/>
              <a:gd name="connsiteY19" fmla="*/ 9720 h 10943"/>
              <a:gd name="connsiteX20" fmla="*/ 985 w 10006"/>
              <a:gd name="connsiteY20" fmla="*/ 9933 h 10943"/>
              <a:gd name="connsiteX21" fmla="*/ 1018 w 10006"/>
              <a:gd name="connsiteY21" fmla="*/ 10173 h 10943"/>
              <a:gd name="connsiteX22" fmla="*/ 1050 w 10006"/>
              <a:gd name="connsiteY22" fmla="*/ 10411 h 10943"/>
              <a:gd name="connsiteX23" fmla="*/ 1077 w 10006"/>
              <a:gd name="connsiteY23" fmla="*/ 10678 h 10943"/>
              <a:gd name="connsiteX24" fmla="*/ 1104 w 10006"/>
              <a:gd name="connsiteY24" fmla="*/ 10943 h 10943"/>
              <a:gd name="connsiteX25" fmla="*/ 1104 w 10006"/>
              <a:gd name="connsiteY25" fmla="*/ 10943 h 10943"/>
              <a:gd name="connsiteX26" fmla="*/ 1116 w 10006"/>
              <a:gd name="connsiteY26" fmla="*/ 10823 h 10943"/>
              <a:gd name="connsiteX27" fmla="*/ 1134 w 10006"/>
              <a:gd name="connsiteY27" fmla="*/ 10678 h 10943"/>
              <a:gd name="connsiteX28" fmla="*/ 1160 w 10006"/>
              <a:gd name="connsiteY28" fmla="*/ 10491 h 10943"/>
              <a:gd name="connsiteX29" fmla="*/ 1193 w 10006"/>
              <a:gd name="connsiteY29" fmla="*/ 10266 h 10943"/>
              <a:gd name="connsiteX30" fmla="*/ 1234 w 10006"/>
              <a:gd name="connsiteY30" fmla="*/ 10026 h 10943"/>
              <a:gd name="connsiteX31" fmla="*/ 1285 w 10006"/>
              <a:gd name="connsiteY31" fmla="*/ 9747 h 10943"/>
              <a:gd name="connsiteX32" fmla="*/ 1341 w 10006"/>
              <a:gd name="connsiteY32" fmla="*/ 9467 h 10943"/>
              <a:gd name="connsiteX33" fmla="*/ 1407 w 10006"/>
              <a:gd name="connsiteY33" fmla="*/ 9189 h 10943"/>
              <a:gd name="connsiteX34" fmla="*/ 1445 w 10006"/>
              <a:gd name="connsiteY34" fmla="*/ 9043 h 10943"/>
              <a:gd name="connsiteX35" fmla="*/ 1484 w 10006"/>
              <a:gd name="connsiteY35" fmla="*/ 8910 h 10943"/>
              <a:gd name="connsiteX36" fmla="*/ 1522 w 10006"/>
              <a:gd name="connsiteY36" fmla="*/ 8777 h 10943"/>
              <a:gd name="connsiteX37" fmla="*/ 1567 w 10006"/>
              <a:gd name="connsiteY37" fmla="*/ 8643 h 10943"/>
              <a:gd name="connsiteX38" fmla="*/ 1611 w 10006"/>
              <a:gd name="connsiteY38" fmla="*/ 8511 h 10943"/>
              <a:gd name="connsiteX39" fmla="*/ 1662 w 10006"/>
              <a:gd name="connsiteY39" fmla="*/ 8391 h 10943"/>
              <a:gd name="connsiteX40" fmla="*/ 1710 w 10006"/>
              <a:gd name="connsiteY40" fmla="*/ 8272 h 10943"/>
              <a:gd name="connsiteX41" fmla="*/ 1764 w 10006"/>
              <a:gd name="connsiteY41" fmla="*/ 8165 h 10943"/>
              <a:gd name="connsiteX42" fmla="*/ 1820 w 10006"/>
              <a:gd name="connsiteY42" fmla="*/ 8072 h 10943"/>
              <a:gd name="connsiteX43" fmla="*/ 1876 w 10006"/>
              <a:gd name="connsiteY43" fmla="*/ 7979 h 10943"/>
              <a:gd name="connsiteX44" fmla="*/ 1936 w 10006"/>
              <a:gd name="connsiteY44" fmla="*/ 7913 h 10943"/>
              <a:gd name="connsiteX45" fmla="*/ 2001 w 10006"/>
              <a:gd name="connsiteY45" fmla="*/ 7846 h 10943"/>
              <a:gd name="connsiteX46" fmla="*/ 2066 w 10006"/>
              <a:gd name="connsiteY46" fmla="*/ 7793 h 10943"/>
              <a:gd name="connsiteX47" fmla="*/ 2132 w 10006"/>
              <a:gd name="connsiteY47" fmla="*/ 7753 h 10943"/>
              <a:gd name="connsiteX48" fmla="*/ 9018 w 10006"/>
              <a:gd name="connsiteY48" fmla="*/ 7753 h 10943"/>
              <a:gd name="connsiteX49" fmla="*/ 9018 w 10006"/>
              <a:gd name="connsiteY49" fmla="*/ 7753 h 10943"/>
              <a:gd name="connsiteX50" fmla="*/ 9045 w 10006"/>
              <a:gd name="connsiteY50" fmla="*/ 7753 h 10943"/>
              <a:gd name="connsiteX51" fmla="*/ 9077 w 10006"/>
              <a:gd name="connsiteY51" fmla="*/ 7753 h 10943"/>
              <a:gd name="connsiteX52" fmla="*/ 9116 w 10006"/>
              <a:gd name="connsiteY52" fmla="*/ 7740 h 10943"/>
              <a:gd name="connsiteX53" fmla="*/ 9169 w 10006"/>
              <a:gd name="connsiteY53" fmla="*/ 7714 h 10943"/>
              <a:gd name="connsiteX54" fmla="*/ 9226 w 10006"/>
              <a:gd name="connsiteY54" fmla="*/ 7660 h 10943"/>
              <a:gd name="connsiteX55" fmla="*/ 9291 w 10006"/>
              <a:gd name="connsiteY55" fmla="*/ 7594 h 10943"/>
              <a:gd name="connsiteX56" fmla="*/ 9362 w 10006"/>
              <a:gd name="connsiteY56" fmla="*/ 7488 h 10943"/>
              <a:gd name="connsiteX57" fmla="*/ 9439 w 10006"/>
              <a:gd name="connsiteY57" fmla="*/ 7341 h 10943"/>
              <a:gd name="connsiteX58" fmla="*/ 9478 w 10006"/>
              <a:gd name="connsiteY58" fmla="*/ 7248 h 10943"/>
              <a:gd name="connsiteX59" fmla="*/ 9516 w 10006"/>
              <a:gd name="connsiteY59" fmla="*/ 7155 h 10943"/>
              <a:gd name="connsiteX60" fmla="*/ 9558 w 10006"/>
              <a:gd name="connsiteY60" fmla="*/ 7049 h 10943"/>
              <a:gd name="connsiteX61" fmla="*/ 9599 w 10006"/>
              <a:gd name="connsiteY61" fmla="*/ 6929 h 10943"/>
              <a:gd name="connsiteX62" fmla="*/ 9641 w 10006"/>
              <a:gd name="connsiteY62" fmla="*/ 6797 h 10943"/>
              <a:gd name="connsiteX63" fmla="*/ 9683 w 10006"/>
              <a:gd name="connsiteY63" fmla="*/ 6650 h 10943"/>
              <a:gd name="connsiteX64" fmla="*/ 9724 w 10006"/>
              <a:gd name="connsiteY64" fmla="*/ 6491 h 10943"/>
              <a:gd name="connsiteX65" fmla="*/ 9763 w 10006"/>
              <a:gd name="connsiteY65" fmla="*/ 6318 h 10943"/>
              <a:gd name="connsiteX66" fmla="*/ 9804 w 10006"/>
              <a:gd name="connsiteY66" fmla="*/ 6119 h 10943"/>
              <a:gd name="connsiteX67" fmla="*/ 9846 w 10006"/>
              <a:gd name="connsiteY67" fmla="*/ 5919 h 10943"/>
              <a:gd name="connsiteX68" fmla="*/ 9884 w 10006"/>
              <a:gd name="connsiteY68" fmla="*/ 5693 h 10943"/>
              <a:gd name="connsiteX69" fmla="*/ 9923 w 10006"/>
              <a:gd name="connsiteY69" fmla="*/ 5455 h 10943"/>
              <a:gd name="connsiteX70" fmla="*/ 9961 w 10006"/>
              <a:gd name="connsiteY70" fmla="*/ 5202 h 10943"/>
              <a:gd name="connsiteX71" fmla="*/ 10000 w 10006"/>
              <a:gd name="connsiteY71" fmla="*/ 4923 h 10943"/>
              <a:gd name="connsiteX72" fmla="*/ 10006 w 10006"/>
              <a:gd name="connsiteY72" fmla="*/ 0 h 10943"/>
              <a:gd name="connsiteX73" fmla="*/ 0 w 10006"/>
              <a:gd name="connsiteY73" fmla="*/ 435 h 10943"/>
              <a:gd name="connsiteX0" fmla="*/ 0 w 10002"/>
              <a:gd name="connsiteY0" fmla="*/ 0 h 10508"/>
              <a:gd name="connsiteX1" fmla="*/ 3 w 10002"/>
              <a:gd name="connsiteY1" fmla="*/ 7212 h 10508"/>
              <a:gd name="connsiteX2" fmla="*/ 3 w 10002"/>
              <a:gd name="connsiteY2" fmla="*/ 7212 h 10508"/>
              <a:gd name="connsiteX3" fmla="*/ 42 w 10002"/>
              <a:gd name="connsiteY3" fmla="*/ 7239 h 10508"/>
              <a:gd name="connsiteX4" fmla="*/ 83 w 10002"/>
              <a:gd name="connsiteY4" fmla="*/ 7266 h 10508"/>
              <a:gd name="connsiteX5" fmla="*/ 139 w 10002"/>
              <a:gd name="connsiteY5" fmla="*/ 7305 h 10508"/>
              <a:gd name="connsiteX6" fmla="*/ 208 w 10002"/>
              <a:gd name="connsiteY6" fmla="*/ 7372 h 10508"/>
              <a:gd name="connsiteX7" fmla="*/ 285 w 10002"/>
              <a:gd name="connsiteY7" fmla="*/ 7465 h 10508"/>
              <a:gd name="connsiteX8" fmla="*/ 371 w 10002"/>
              <a:gd name="connsiteY8" fmla="*/ 7585 h 10508"/>
              <a:gd name="connsiteX9" fmla="*/ 460 w 10002"/>
              <a:gd name="connsiteY9" fmla="*/ 7730 h 10508"/>
              <a:gd name="connsiteX10" fmla="*/ 555 w 10002"/>
              <a:gd name="connsiteY10" fmla="*/ 7916 h 10508"/>
              <a:gd name="connsiteX11" fmla="*/ 599 w 10002"/>
              <a:gd name="connsiteY11" fmla="*/ 8022 h 10508"/>
              <a:gd name="connsiteX12" fmla="*/ 647 w 10002"/>
              <a:gd name="connsiteY12" fmla="*/ 8142 h 10508"/>
              <a:gd name="connsiteX13" fmla="*/ 694 w 10002"/>
              <a:gd name="connsiteY13" fmla="*/ 8275 h 10508"/>
              <a:gd name="connsiteX14" fmla="*/ 739 w 10002"/>
              <a:gd name="connsiteY14" fmla="*/ 8409 h 10508"/>
              <a:gd name="connsiteX15" fmla="*/ 783 w 10002"/>
              <a:gd name="connsiteY15" fmla="*/ 8568 h 10508"/>
              <a:gd name="connsiteX16" fmla="*/ 828 w 10002"/>
              <a:gd name="connsiteY16" fmla="*/ 8727 h 10508"/>
              <a:gd name="connsiteX17" fmla="*/ 869 w 10002"/>
              <a:gd name="connsiteY17" fmla="*/ 8900 h 10508"/>
              <a:gd name="connsiteX18" fmla="*/ 911 w 10002"/>
              <a:gd name="connsiteY18" fmla="*/ 9086 h 10508"/>
              <a:gd name="connsiteX19" fmla="*/ 950 w 10002"/>
              <a:gd name="connsiteY19" fmla="*/ 9285 h 10508"/>
              <a:gd name="connsiteX20" fmla="*/ 985 w 10002"/>
              <a:gd name="connsiteY20" fmla="*/ 9498 h 10508"/>
              <a:gd name="connsiteX21" fmla="*/ 1018 w 10002"/>
              <a:gd name="connsiteY21" fmla="*/ 9738 h 10508"/>
              <a:gd name="connsiteX22" fmla="*/ 1050 w 10002"/>
              <a:gd name="connsiteY22" fmla="*/ 9976 h 10508"/>
              <a:gd name="connsiteX23" fmla="*/ 1077 w 10002"/>
              <a:gd name="connsiteY23" fmla="*/ 10243 h 10508"/>
              <a:gd name="connsiteX24" fmla="*/ 1104 w 10002"/>
              <a:gd name="connsiteY24" fmla="*/ 10508 h 10508"/>
              <a:gd name="connsiteX25" fmla="*/ 1104 w 10002"/>
              <a:gd name="connsiteY25" fmla="*/ 10508 h 10508"/>
              <a:gd name="connsiteX26" fmla="*/ 1116 w 10002"/>
              <a:gd name="connsiteY26" fmla="*/ 10388 h 10508"/>
              <a:gd name="connsiteX27" fmla="*/ 1134 w 10002"/>
              <a:gd name="connsiteY27" fmla="*/ 10243 h 10508"/>
              <a:gd name="connsiteX28" fmla="*/ 1160 w 10002"/>
              <a:gd name="connsiteY28" fmla="*/ 10056 h 10508"/>
              <a:gd name="connsiteX29" fmla="*/ 1193 w 10002"/>
              <a:gd name="connsiteY29" fmla="*/ 9831 h 10508"/>
              <a:gd name="connsiteX30" fmla="*/ 1234 w 10002"/>
              <a:gd name="connsiteY30" fmla="*/ 9591 h 10508"/>
              <a:gd name="connsiteX31" fmla="*/ 1285 w 10002"/>
              <a:gd name="connsiteY31" fmla="*/ 9312 h 10508"/>
              <a:gd name="connsiteX32" fmla="*/ 1341 w 10002"/>
              <a:gd name="connsiteY32" fmla="*/ 9032 h 10508"/>
              <a:gd name="connsiteX33" fmla="*/ 1407 w 10002"/>
              <a:gd name="connsiteY33" fmla="*/ 8754 h 10508"/>
              <a:gd name="connsiteX34" fmla="*/ 1445 w 10002"/>
              <a:gd name="connsiteY34" fmla="*/ 8608 h 10508"/>
              <a:gd name="connsiteX35" fmla="*/ 1484 w 10002"/>
              <a:gd name="connsiteY35" fmla="*/ 8475 h 10508"/>
              <a:gd name="connsiteX36" fmla="*/ 1522 w 10002"/>
              <a:gd name="connsiteY36" fmla="*/ 8342 h 10508"/>
              <a:gd name="connsiteX37" fmla="*/ 1567 w 10002"/>
              <a:gd name="connsiteY37" fmla="*/ 8208 h 10508"/>
              <a:gd name="connsiteX38" fmla="*/ 1611 w 10002"/>
              <a:gd name="connsiteY38" fmla="*/ 8076 h 10508"/>
              <a:gd name="connsiteX39" fmla="*/ 1662 w 10002"/>
              <a:gd name="connsiteY39" fmla="*/ 7956 h 10508"/>
              <a:gd name="connsiteX40" fmla="*/ 1710 w 10002"/>
              <a:gd name="connsiteY40" fmla="*/ 7837 h 10508"/>
              <a:gd name="connsiteX41" fmla="*/ 1764 w 10002"/>
              <a:gd name="connsiteY41" fmla="*/ 7730 h 10508"/>
              <a:gd name="connsiteX42" fmla="*/ 1820 w 10002"/>
              <a:gd name="connsiteY42" fmla="*/ 7637 h 10508"/>
              <a:gd name="connsiteX43" fmla="*/ 1876 w 10002"/>
              <a:gd name="connsiteY43" fmla="*/ 7544 h 10508"/>
              <a:gd name="connsiteX44" fmla="*/ 1936 w 10002"/>
              <a:gd name="connsiteY44" fmla="*/ 7478 h 10508"/>
              <a:gd name="connsiteX45" fmla="*/ 2001 w 10002"/>
              <a:gd name="connsiteY45" fmla="*/ 7411 h 10508"/>
              <a:gd name="connsiteX46" fmla="*/ 2066 w 10002"/>
              <a:gd name="connsiteY46" fmla="*/ 7358 h 10508"/>
              <a:gd name="connsiteX47" fmla="*/ 2132 w 10002"/>
              <a:gd name="connsiteY47" fmla="*/ 7318 h 10508"/>
              <a:gd name="connsiteX48" fmla="*/ 9018 w 10002"/>
              <a:gd name="connsiteY48" fmla="*/ 7318 h 10508"/>
              <a:gd name="connsiteX49" fmla="*/ 9018 w 10002"/>
              <a:gd name="connsiteY49" fmla="*/ 7318 h 10508"/>
              <a:gd name="connsiteX50" fmla="*/ 9045 w 10002"/>
              <a:gd name="connsiteY50" fmla="*/ 7318 h 10508"/>
              <a:gd name="connsiteX51" fmla="*/ 9077 w 10002"/>
              <a:gd name="connsiteY51" fmla="*/ 7318 h 10508"/>
              <a:gd name="connsiteX52" fmla="*/ 9116 w 10002"/>
              <a:gd name="connsiteY52" fmla="*/ 7305 h 10508"/>
              <a:gd name="connsiteX53" fmla="*/ 9169 w 10002"/>
              <a:gd name="connsiteY53" fmla="*/ 7279 h 10508"/>
              <a:gd name="connsiteX54" fmla="*/ 9226 w 10002"/>
              <a:gd name="connsiteY54" fmla="*/ 7225 h 10508"/>
              <a:gd name="connsiteX55" fmla="*/ 9291 w 10002"/>
              <a:gd name="connsiteY55" fmla="*/ 7159 h 10508"/>
              <a:gd name="connsiteX56" fmla="*/ 9362 w 10002"/>
              <a:gd name="connsiteY56" fmla="*/ 7053 h 10508"/>
              <a:gd name="connsiteX57" fmla="*/ 9439 w 10002"/>
              <a:gd name="connsiteY57" fmla="*/ 6906 h 10508"/>
              <a:gd name="connsiteX58" fmla="*/ 9478 w 10002"/>
              <a:gd name="connsiteY58" fmla="*/ 6813 h 10508"/>
              <a:gd name="connsiteX59" fmla="*/ 9516 w 10002"/>
              <a:gd name="connsiteY59" fmla="*/ 6720 h 10508"/>
              <a:gd name="connsiteX60" fmla="*/ 9558 w 10002"/>
              <a:gd name="connsiteY60" fmla="*/ 6614 h 10508"/>
              <a:gd name="connsiteX61" fmla="*/ 9599 w 10002"/>
              <a:gd name="connsiteY61" fmla="*/ 6494 h 10508"/>
              <a:gd name="connsiteX62" fmla="*/ 9641 w 10002"/>
              <a:gd name="connsiteY62" fmla="*/ 6362 h 10508"/>
              <a:gd name="connsiteX63" fmla="*/ 9683 w 10002"/>
              <a:gd name="connsiteY63" fmla="*/ 6215 h 10508"/>
              <a:gd name="connsiteX64" fmla="*/ 9724 w 10002"/>
              <a:gd name="connsiteY64" fmla="*/ 6056 h 10508"/>
              <a:gd name="connsiteX65" fmla="*/ 9763 w 10002"/>
              <a:gd name="connsiteY65" fmla="*/ 5883 h 10508"/>
              <a:gd name="connsiteX66" fmla="*/ 9804 w 10002"/>
              <a:gd name="connsiteY66" fmla="*/ 5684 h 10508"/>
              <a:gd name="connsiteX67" fmla="*/ 9846 w 10002"/>
              <a:gd name="connsiteY67" fmla="*/ 5484 h 10508"/>
              <a:gd name="connsiteX68" fmla="*/ 9884 w 10002"/>
              <a:gd name="connsiteY68" fmla="*/ 5258 h 10508"/>
              <a:gd name="connsiteX69" fmla="*/ 9923 w 10002"/>
              <a:gd name="connsiteY69" fmla="*/ 5020 h 10508"/>
              <a:gd name="connsiteX70" fmla="*/ 9961 w 10002"/>
              <a:gd name="connsiteY70" fmla="*/ 4767 h 10508"/>
              <a:gd name="connsiteX71" fmla="*/ 10000 w 10002"/>
              <a:gd name="connsiteY71" fmla="*/ 4488 h 10508"/>
              <a:gd name="connsiteX72" fmla="*/ 9552 w 10002"/>
              <a:gd name="connsiteY72" fmla="*/ 0 h 10508"/>
              <a:gd name="connsiteX73" fmla="*/ 0 w 10002"/>
              <a:gd name="connsiteY73" fmla="*/ 0 h 10508"/>
              <a:gd name="connsiteX0" fmla="*/ 0 w 10000"/>
              <a:gd name="connsiteY0" fmla="*/ 0 h 10508"/>
              <a:gd name="connsiteX1" fmla="*/ 3 w 10000"/>
              <a:gd name="connsiteY1" fmla="*/ 7212 h 10508"/>
              <a:gd name="connsiteX2" fmla="*/ 3 w 10000"/>
              <a:gd name="connsiteY2" fmla="*/ 7212 h 10508"/>
              <a:gd name="connsiteX3" fmla="*/ 42 w 10000"/>
              <a:gd name="connsiteY3" fmla="*/ 7239 h 10508"/>
              <a:gd name="connsiteX4" fmla="*/ 83 w 10000"/>
              <a:gd name="connsiteY4" fmla="*/ 7266 h 10508"/>
              <a:gd name="connsiteX5" fmla="*/ 139 w 10000"/>
              <a:gd name="connsiteY5" fmla="*/ 7305 h 10508"/>
              <a:gd name="connsiteX6" fmla="*/ 208 w 10000"/>
              <a:gd name="connsiteY6" fmla="*/ 7372 h 10508"/>
              <a:gd name="connsiteX7" fmla="*/ 285 w 10000"/>
              <a:gd name="connsiteY7" fmla="*/ 7465 h 10508"/>
              <a:gd name="connsiteX8" fmla="*/ 371 w 10000"/>
              <a:gd name="connsiteY8" fmla="*/ 7585 h 10508"/>
              <a:gd name="connsiteX9" fmla="*/ 460 w 10000"/>
              <a:gd name="connsiteY9" fmla="*/ 7730 h 10508"/>
              <a:gd name="connsiteX10" fmla="*/ 555 w 10000"/>
              <a:gd name="connsiteY10" fmla="*/ 7916 h 10508"/>
              <a:gd name="connsiteX11" fmla="*/ 599 w 10000"/>
              <a:gd name="connsiteY11" fmla="*/ 8022 h 10508"/>
              <a:gd name="connsiteX12" fmla="*/ 647 w 10000"/>
              <a:gd name="connsiteY12" fmla="*/ 8142 h 10508"/>
              <a:gd name="connsiteX13" fmla="*/ 694 w 10000"/>
              <a:gd name="connsiteY13" fmla="*/ 8275 h 10508"/>
              <a:gd name="connsiteX14" fmla="*/ 739 w 10000"/>
              <a:gd name="connsiteY14" fmla="*/ 8409 h 10508"/>
              <a:gd name="connsiteX15" fmla="*/ 783 w 10000"/>
              <a:gd name="connsiteY15" fmla="*/ 8568 h 10508"/>
              <a:gd name="connsiteX16" fmla="*/ 828 w 10000"/>
              <a:gd name="connsiteY16" fmla="*/ 8727 h 10508"/>
              <a:gd name="connsiteX17" fmla="*/ 869 w 10000"/>
              <a:gd name="connsiteY17" fmla="*/ 8900 h 10508"/>
              <a:gd name="connsiteX18" fmla="*/ 911 w 10000"/>
              <a:gd name="connsiteY18" fmla="*/ 9086 h 10508"/>
              <a:gd name="connsiteX19" fmla="*/ 950 w 10000"/>
              <a:gd name="connsiteY19" fmla="*/ 9285 h 10508"/>
              <a:gd name="connsiteX20" fmla="*/ 985 w 10000"/>
              <a:gd name="connsiteY20" fmla="*/ 9498 h 10508"/>
              <a:gd name="connsiteX21" fmla="*/ 1018 w 10000"/>
              <a:gd name="connsiteY21" fmla="*/ 9738 h 10508"/>
              <a:gd name="connsiteX22" fmla="*/ 1050 w 10000"/>
              <a:gd name="connsiteY22" fmla="*/ 9976 h 10508"/>
              <a:gd name="connsiteX23" fmla="*/ 1077 w 10000"/>
              <a:gd name="connsiteY23" fmla="*/ 10243 h 10508"/>
              <a:gd name="connsiteX24" fmla="*/ 1104 w 10000"/>
              <a:gd name="connsiteY24" fmla="*/ 10508 h 10508"/>
              <a:gd name="connsiteX25" fmla="*/ 1104 w 10000"/>
              <a:gd name="connsiteY25" fmla="*/ 10508 h 10508"/>
              <a:gd name="connsiteX26" fmla="*/ 1116 w 10000"/>
              <a:gd name="connsiteY26" fmla="*/ 10388 h 10508"/>
              <a:gd name="connsiteX27" fmla="*/ 1134 w 10000"/>
              <a:gd name="connsiteY27" fmla="*/ 10243 h 10508"/>
              <a:gd name="connsiteX28" fmla="*/ 1160 w 10000"/>
              <a:gd name="connsiteY28" fmla="*/ 10056 h 10508"/>
              <a:gd name="connsiteX29" fmla="*/ 1193 w 10000"/>
              <a:gd name="connsiteY29" fmla="*/ 9831 h 10508"/>
              <a:gd name="connsiteX30" fmla="*/ 1234 w 10000"/>
              <a:gd name="connsiteY30" fmla="*/ 9591 h 10508"/>
              <a:gd name="connsiteX31" fmla="*/ 1285 w 10000"/>
              <a:gd name="connsiteY31" fmla="*/ 9312 h 10508"/>
              <a:gd name="connsiteX32" fmla="*/ 1341 w 10000"/>
              <a:gd name="connsiteY32" fmla="*/ 9032 h 10508"/>
              <a:gd name="connsiteX33" fmla="*/ 1407 w 10000"/>
              <a:gd name="connsiteY33" fmla="*/ 8754 h 10508"/>
              <a:gd name="connsiteX34" fmla="*/ 1445 w 10000"/>
              <a:gd name="connsiteY34" fmla="*/ 8608 h 10508"/>
              <a:gd name="connsiteX35" fmla="*/ 1484 w 10000"/>
              <a:gd name="connsiteY35" fmla="*/ 8475 h 10508"/>
              <a:gd name="connsiteX36" fmla="*/ 1522 w 10000"/>
              <a:gd name="connsiteY36" fmla="*/ 8342 h 10508"/>
              <a:gd name="connsiteX37" fmla="*/ 1567 w 10000"/>
              <a:gd name="connsiteY37" fmla="*/ 8208 h 10508"/>
              <a:gd name="connsiteX38" fmla="*/ 1611 w 10000"/>
              <a:gd name="connsiteY38" fmla="*/ 8076 h 10508"/>
              <a:gd name="connsiteX39" fmla="*/ 1662 w 10000"/>
              <a:gd name="connsiteY39" fmla="*/ 7956 h 10508"/>
              <a:gd name="connsiteX40" fmla="*/ 1710 w 10000"/>
              <a:gd name="connsiteY40" fmla="*/ 7837 h 10508"/>
              <a:gd name="connsiteX41" fmla="*/ 1764 w 10000"/>
              <a:gd name="connsiteY41" fmla="*/ 7730 h 10508"/>
              <a:gd name="connsiteX42" fmla="*/ 1820 w 10000"/>
              <a:gd name="connsiteY42" fmla="*/ 7637 h 10508"/>
              <a:gd name="connsiteX43" fmla="*/ 1876 w 10000"/>
              <a:gd name="connsiteY43" fmla="*/ 7544 h 10508"/>
              <a:gd name="connsiteX44" fmla="*/ 1936 w 10000"/>
              <a:gd name="connsiteY44" fmla="*/ 7478 h 10508"/>
              <a:gd name="connsiteX45" fmla="*/ 2001 w 10000"/>
              <a:gd name="connsiteY45" fmla="*/ 7411 h 10508"/>
              <a:gd name="connsiteX46" fmla="*/ 2066 w 10000"/>
              <a:gd name="connsiteY46" fmla="*/ 7358 h 10508"/>
              <a:gd name="connsiteX47" fmla="*/ 2132 w 10000"/>
              <a:gd name="connsiteY47" fmla="*/ 7318 h 10508"/>
              <a:gd name="connsiteX48" fmla="*/ 9018 w 10000"/>
              <a:gd name="connsiteY48" fmla="*/ 7318 h 10508"/>
              <a:gd name="connsiteX49" fmla="*/ 9018 w 10000"/>
              <a:gd name="connsiteY49" fmla="*/ 7318 h 10508"/>
              <a:gd name="connsiteX50" fmla="*/ 9045 w 10000"/>
              <a:gd name="connsiteY50" fmla="*/ 7318 h 10508"/>
              <a:gd name="connsiteX51" fmla="*/ 9077 w 10000"/>
              <a:gd name="connsiteY51" fmla="*/ 7318 h 10508"/>
              <a:gd name="connsiteX52" fmla="*/ 9116 w 10000"/>
              <a:gd name="connsiteY52" fmla="*/ 7305 h 10508"/>
              <a:gd name="connsiteX53" fmla="*/ 9169 w 10000"/>
              <a:gd name="connsiteY53" fmla="*/ 7279 h 10508"/>
              <a:gd name="connsiteX54" fmla="*/ 9226 w 10000"/>
              <a:gd name="connsiteY54" fmla="*/ 7225 h 10508"/>
              <a:gd name="connsiteX55" fmla="*/ 9291 w 10000"/>
              <a:gd name="connsiteY55" fmla="*/ 7159 h 10508"/>
              <a:gd name="connsiteX56" fmla="*/ 9362 w 10000"/>
              <a:gd name="connsiteY56" fmla="*/ 7053 h 10508"/>
              <a:gd name="connsiteX57" fmla="*/ 9439 w 10000"/>
              <a:gd name="connsiteY57" fmla="*/ 6906 h 10508"/>
              <a:gd name="connsiteX58" fmla="*/ 9478 w 10000"/>
              <a:gd name="connsiteY58" fmla="*/ 6813 h 10508"/>
              <a:gd name="connsiteX59" fmla="*/ 9516 w 10000"/>
              <a:gd name="connsiteY59" fmla="*/ 6720 h 10508"/>
              <a:gd name="connsiteX60" fmla="*/ 9558 w 10000"/>
              <a:gd name="connsiteY60" fmla="*/ 6614 h 10508"/>
              <a:gd name="connsiteX61" fmla="*/ 9599 w 10000"/>
              <a:gd name="connsiteY61" fmla="*/ 6494 h 10508"/>
              <a:gd name="connsiteX62" fmla="*/ 9641 w 10000"/>
              <a:gd name="connsiteY62" fmla="*/ 6362 h 10508"/>
              <a:gd name="connsiteX63" fmla="*/ 9683 w 10000"/>
              <a:gd name="connsiteY63" fmla="*/ 6215 h 10508"/>
              <a:gd name="connsiteX64" fmla="*/ 9724 w 10000"/>
              <a:gd name="connsiteY64" fmla="*/ 6056 h 10508"/>
              <a:gd name="connsiteX65" fmla="*/ 9763 w 10000"/>
              <a:gd name="connsiteY65" fmla="*/ 5883 h 10508"/>
              <a:gd name="connsiteX66" fmla="*/ 9804 w 10000"/>
              <a:gd name="connsiteY66" fmla="*/ 5684 h 10508"/>
              <a:gd name="connsiteX67" fmla="*/ 9846 w 10000"/>
              <a:gd name="connsiteY67" fmla="*/ 5484 h 10508"/>
              <a:gd name="connsiteX68" fmla="*/ 9884 w 10000"/>
              <a:gd name="connsiteY68" fmla="*/ 5258 h 10508"/>
              <a:gd name="connsiteX69" fmla="*/ 9923 w 10000"/>
              <a:gd name="connsiteY69" fmla="*/ 5020 h 10508"/>
              <a:gd name="connsiteX70" fmla="*/ 9961 w 10000"/>
              <a:gd name="connsiteY70" fmla="*/ 4767 h 10508"/>
              <a:gd name="connsiteX71" fmla="*/ 10000 w 10000"/>
              <a:gd name="connsiteY71" fmla="*/ 4488 h 10508"/>
              <a:gd name="connsiteX72" fmla="*/ 9552 w 10000"/>
              <a:gd name="connsiteY72" fmla="*/ 0 h 10508"/>
              <a:gd name="connsiteX73" fmla="*/ 0 w 10000"/>
              <a:gd name="connsiteY73" fmla="*/ 0 h 10508"/>
              <a:gd name="connsiteX0" fmla="*/ 0 w 10155"/>
              <a:gd name="connsiteY0" fmla="*/ 0 h 10508"/>
              <a:gd name="connsiteX1" fmla="*/ 3 w 10155"/>
              <a:gd name="connsiteY1" fmla="*/ 7212 h 10508"/>
              <a:gd name="connsiteX2" fmla="*/ 3 w 10155"/>
              <a:gd name="connsiteY2" fmla="*/ 7212 h 10508"/>
              <a:gd name="connsiteX3" fmla="*/ 42 w 10155"/>
              <a:gd name="connsiteY3" fmla="*/ 7239 h 10508"/>
              <a:gd name="connsiteX4" fmla="*/ 83 w 10155"/>
              <a:gd name="connsiteY4" fmla="*/ 7266 h 10508"/>
              <a:gd name="connsiteX5" fmla="*/ 139 w 10155"/>
              <a:gd name="connsiteY5" fmla="*/ 7305 h 10508"/>
              <a:gd name="connsiteX6" fmla="*/ 208 w 10155"/>
              <a:gd name="connsiteY6" fmla="*/ 7372 h 10508"/>
              <a:gd name="connsiteX7" fmla="*/ 285 w 10155"/>
              <a:gd name="connsiteY7" fmla="*/ 7465 h 10508"/>
              <a:gd name="connsiteX8" fmla="*/ 371 w 10155"/>
              <a:gd name="connsiteY8" fmla="*/ 7585 h 10508"/>
              <a:gd name="connsiteX9" fmla="*/ 460 w 10155"/>
              <a:gd name="connsiteY9" fmla="*/ 7730 h 10508"/>
              <a:gd name="connsiteX10" fmla="*/ 555 w 10155"/>
              <a:gd name="connsiteY10" fmla="*/ 7916 h 10508"/>
              <a:gd name="connsiteX11" fmla="*/ 599 w 10155"/>
              <a:gd name="connsiteY11" fmla="*/ 8022 h 10508"/>
              <a:gd name="connsiteX12" fmla="*/ 647 w 10155"/>
              <a:gd name="connsiteY12" fmla="*/ 8142 h 10508"/>
              <a:gd name="connsiteX13" fmla="*/ 694 w 10155"/>
              <a:gd name="connsiteY13" fmla="*/ 8275 h 10508"/>
              <a:gd name="connsiteX14" fmla="*/ 739 w 10155"/>
              <a:gd name="connsiteY14" fmla="*/ 8409 h 10508"/>
              <a:gd name="connsiteX15" fmla="*/ 783 w 10155"/>
              <a:gd name="connsiteY15" fmla="*/ 8568 h 10508"/>
              <a:gd name="connsiteX16" fmla="*/ 828 w 10155"/>
              <a:gd name="connsiteY16" fmla="*/ 8727 h 10508"/>
              <a:gd name="connsiteX17" fmla="*/ 869 w 10155"/>
              <a:gd name="connsiteY17" fmla="*/ 8900 h 10508"/>
              <a:gd name="connsiteX18" fmla="*/ 911 w 10155"/>
              <a:gd name="connsiteY18" fmla="*/ 9086 h 10508"/>
              <a:gd name="connsiteX19" fmla="*/ 950 w 10155"/>
              <a:gd name="connsiteY19" fmla="*/ 9285 h 10508"/>
              <a:gd name="connsiteX20" fmla="*/ 985 w 10155"/>
              <a:gd name="connsiteY20" fmla="*/ 9498 h 10508"/>
              <a:gd name="connsiteX21" fmla="*/ 1018 w 10155"/>
              <a:gd name="connsiteY21" fmla="*/ 9738 h 10508"/>
              <a:gd name="connsiteX22" fmla="*/ 1050 w 10155"/>
              <a:gd name="connsiteY22" fmla="*/ 9976 h 10508"/>
              <a:gd name="connsiteX23" fmla="*/ 1077 w 10155"/>
              <a:gd name="connsiteY23" fmla="*/ 10243 h 10508"/>
              <a:gd name="connsiteX24" fmla="*/ 1104 w 10155"/>
              <a:gd name="connsiteY24" fmla="*/ 10508 h 10508"/>
              <a:gd name="connsiteX25" fmla="*/ 1104 w 10155"/>
              <a:gd name="connsiteY25" fmla="*/ 10508 h 10508"/>
              <a:gd name="connsiteX26" fmla="*/ 1116 w 10155"/>
              <a:gd name="connsiteY26" fmla="*/ 10388 h 10508"/>
              <a:gd name="connsiteX27" fmla="*/ 1134 w 10155"/>
              <a:gd name="connsiteY27" fmla="*/ 10243 h 10508"/>
              <a:gd name="connsiteX28" fmla="*/ 1160 w 10155"/>
              <a:gd name="connsiteY28" fmla="*/ 10056 h 10508"/>
              <a:gd name="connsiteX29" fmla="*/ 1193 w 10155"/>
              <a:gd name="connsiteY29" fmla="*/ 9831 h 10508"/>
              <a:gd name="connsiteX30" fmla="*/ 1234 w 10155"/>
              <a:gd name="connsiteY30" fmla="*/ 9591 h 10508"/>
              <a:gd name="connsiteX31" fmla="*/ 1285 w 10155"/>
              <a:gd name="connsiteY31" fmla="*/ 9312 h 10508"/>
              <a:gd name="connsiteX32" fmla="*/ 1341 w 10155"/>
              <a:gd name="connsiteY32" fmla="*/ 9032 h 10508"/>
              <a:gd name="connsiteX33" fmla="*/ 1407 w 10155"/>
              <a:gd name="connsiteY33" fmla="*/ 8754 h 10508"/>
              <a:gd name="connsiteX34" fmla="*/ 1445 w 10155"/>
              <a:gd name="connsiteY34" fmla="*/ 8608 h 10508"/>
              <a:gd name="connsiteX35" fmla="*/ 1484 w 10155"/>
              <a:gd name="connsiteY35" fmla="*/ 8475 h 10508"/>
              <a:gd name="connsiteX36" fmla="*/ 1522 w 10155"/>
              <a:gd name="connsiteY36" fmla="*/ 8342 h 10508"/>
              <a:gd name="connsiteX37" fmla="*/ 1567 w 10155"/>
              <a:gd name="connsiteY37" fmla="*/ 8208 h 10508"/>
              <a:gd name="connsiteX38" fmla="*/ 1611 w 10155"/>
              <a:gd name="connsiteY38" fmla="*/ 8076 h 10508"/>
              <a:gd name="connsiteX39" fmla="*/ 1662 w 10155"/>
              <a:gd name="connsiteY39" fmla="*/ 7956 h 10508"/>
              <a:gd name="connsiteX40" fmla="*/ 1710 w 10155"/>
              <a:gd name="connsiteY40" fmla="*/ 7837 h 10508"/>
              <a:gd name="connsiteX41" fmla="*/ 1764 w 10155"/>
              <a:gd name="connsiteY41" fmla="*/ 7730 h 10508"/>
              <a:gd name="connsiteX42" fmla="*/ 1820 w 10155"/>
              <a:gd name="connsiteY42" fmla="*/ 7637 h 10508"/>
              <a:gd name="connsiteX43" fmla="*/ 1876 w 10155"/>
              <a:gd name="connsiteY43" fmla="*/ 7544 h 10508"/>
              <a:gd name="connsiteX44" fmla="*/ 1936 w 10155"/>
              <a:gd name="connsiteY44" fmla="*/ 7478 h 10508"/>
              <a:gd name="connsiteX45" fmla="*/ 2001 w 10155"/>
              <a:gd name="connsiteY45" fmla="*/ 7411 h 10508"/>
              <a:gd name="connsiteX46" fmla="*/ 2066 w 10155"/>
              <a:gd name="connsiteY46" fmla="*/ 7358 h 10508"/>
              <a:gd name="connsiteX47" fmla="*/ 2132 w 10155"/>
              <a:gd name="connsiteY47" fmla="*/ 7318 h 10508"/>
              <a:gd name="connsiteX48" fmla="*/ 9018 w 10155"/>
              <a:gd name="connsiteY48" fmla="*/ 7318 h 10508"/>
              <a:gd name="connsiteX49" fmla="*/ 9018 w 10155"/>
              <a:gd name="connsiteY49" fmla="*/ 7318 h 10508"/>
              <a:gd name="connsiteX50" fmla="*/ 9045 w 10155"/>
              <a:gd name="connsiteY50" fmla="*/ 7318 h 10508"/>
              <a:gd name="connsiteX51" fmla="*/ 9077 w 10155"/>
              <a:gd name="connsiteY51" fmla="*/ 7318 h 10508"/>
              <a:gd name="connsiteX52" fmla="*/ 9116 w 10155"/>
              <a:gd name="connsiteY52" fmla="*/ 7305 h 10508"/>
              <a:gd name="connsiteX53" fmla="*/ 9169 w 10155"/>
              <a:gd name="connsiteY53" fmla="*/ 7279 h 10508"/>
              <a:gd name="connsiteX54" fmla="*/ 9226 w 10155"/>
              <a:gd name="connsiteY54" fmla="*/ 7225 h 10508"/>
              <a:gd name="connsiteX55" fmla="*/ 9291 w 10155"/>
              <a:gd name="connsiteY55" fmla="*/ 7159 h 10508"/>
              <a:gd name="connsiteX56" fmla="*/ 9362 w 10155"/>
              <a:gd name="connsiteY56" fmla="*/ 7053 h 10508"/>
              <a:gd name="connsiteX57" fmla="*/ 9439 w 10155"/>
              <a:gd name="connsiteY57" fmla="*/ 6906 h 10508"/>
              <a:gd name="connsiteX58" fmla="*/ 9478 w 10155"/>
              <a:gd name="connsiteY58" fmla="*/ 6813 h 10508"/>
              <a:gd name="connsiteX59" fmla="*/ 9516 w 10155"/>
              <a:gd name="connsiteY59" fmla="*/ 6720 h 10508"/>
              <a:gd name="connsiteX60" fmla="*/ 9558 w 10155"/>
              <a:gd name="connsiteY60" fmla="*/ 6614 h 10508"/>
              <a:gd name="connsiteX61" fmla="*/ 9599 w 10155"/>
              <a:gd name="connsiteY61" fmla="*/ 6494 h 10508"/>
              <a:gd name="connsiteX62" fmla="*/ 9641 w 10155"/>
              <a:gd name="connsiteY62" fmla="*/ 6362 h 10508"/>
              <a:gd name="connsiteX63" fmla="*/ 9683 w 10155"/>
              <a:gd name="connsiteY63" fmla="*/ 6215 h 10508"/>
              <a:gd name="connsiteX64" fmla="*/ 9724 w 10155"/>
              <a:gd name="connsiteY64" fmla="*/ 6056 h 10508"/>
              <a:gd name="connsiteX65" fmla="*/ 9763 w 10155"/>
              <a:gd name="connsiteY65" fmla="*/ 5883 h 10508"/>
              <a:gd name="connsiteX66" fmla="*/ 9804 w 10155"/>
              <a:gd name="connsiteY66" fmla="*/ 5684 h 10508"/>
              <a:gd name="connsiteX67" fmla="*/ 9846 w 10155"/>
              <a:gd name="connsiteY67" fmla="*/ 5484 h 10508"/>
              <a:gd name="connsiteX68" fmla="*/ 9884 w 10155"/>
              <a:gd name="connsiteY68" fmla="*/ 5258 h 10508"/>
              <a:gd name="connsiteX69" fmla="*/ 9923 w 10155"/>
              <a:gd name="connsiteY69" fmla="*/ 5020 h 10508"/>
              <a:gd name="connsiteX70" fmla="*/ 9961 w 10155"/>
              <a:gd name="connsiteY70" fmla="*/ 4767 h 10508"/>
              <a:gd name="connsiteX71" fmla="*/ 10000 w 10155"/>
              <a:gd name="connsiteY71" fmla="*/ 4488 h 10508"/>
              <a:gd name="connsiteX72" fmla="*/ 10006 w 10155"/>
              <a:gd name="connsiteY72" fmla="*/ 0 h 10508"/>
              <a:gd name="connsiteX73" fmla="*/ 0 w 10155"/>
              <a:gd name="connsiteY73" fmla="*/ 0 h 10508"/>
              <a:gd name="connsiteX0" fmla="*/ 0 w 10006"/>
              <a:gd name="connsiteY0" fmla="*/ 0 h 10508"/>
              <a:gd name="connsiteX1" fmla="*/ 3 w 10006"/>
              <a:gd name="connsiteY1" fmla="*/ 7212 h 10508"/>
              <a:gd name="connsiteX2" fmla="*/ 3 w 10006"/>
              <a:gd name="connsiteY2" fmla="*/ 7212 h 10508"/>
              <a:gd name="connsiteX3" fmla="*/ 42 w 10006"/>
              <a:gd name="connsiteY3" fmla="*/ 7239 h 10508"/>
              <a:gd name="connsiteX4" fmla="*/ 83 w 10006"/>
              <a:gd name="connsiteY4" fmla="*/ 7266 h 10508"/>
              <a:gd name="connsiteX5" fmla="*/ 139 w 10006"/>
              <a:gd name="connsiteY5" fmla="*/ 7305 h 10508"/>
              <a:gd name="connsiteX6" fmla="*/ 208 w 10006"/>
              <a:gd name="connsiteY6" fmla="*/ 7372 h 10508"/>
              <a:gd name="connsiteX7" fmla="*/ 285 w 10006"/>
              <a:gd name="connsiteY7" fmla="*/ 7465 h 10508"/>
              <a:gd name="connsiteX8" fmla="*/ 371 w 10006"/>
              <a:gd name="connsiteY8" fmla="*/ 7585 h 10508"/>
              <a:gd name="connsiteX9" fmla="*/ 460 w 10006"/>
              <a:gd name="connsiteY9" fmla="*/ 7730 h 10508"/>
              <a:gd name="connsiteX10" fmla="*/ 555 w 10006"/>
              <a:gd name="connsiteY10" fmla="*/ 7916 h 10508"/>
              <a:gd name="connsiteX11" fmla="*/ 599 w 10006"/>
              <a:gd name="connsiteY11" fmla="*/ 8022 h 10508"/>
              <a:gd name="connsiteX12" fmla="*/ 647 w 10006"/>
              <a:gd name="connsiteY12" fmla="*/ 8142 h 10508"/>
              <a:gd name="connsiteX13" fmla="*/ 694 w 10006"/>
              <a:gd name="connsiteY13" fmla="*/ 8275 h 10508"/>
              <a:gd name="connsiteX14" fmla="*/ 739 w 10006"/>
              <a:gd name="connsiteY14" fmla="*/ 8409 h 10508"/>
              <a:gd name="connsiteX15" fmla="*/ 783 w 10006"/>
              <a:gd name="connsiteY15" fmla="*/ 8568 h 10508"/>
              <a:gd name="connsiteX16" fmla="*/ 828 w 10006"/>
              <a:gd name="connsiteY16" fmla="*/ 8727 h 10508"/>
              <a:gd name="connsiteX17" fmla="*/ 869 w 10006"/>
              <a:gd name="connsiteY17" fmla="*/ 8900 h 10508"/>
              <a:gd name="connsiteX18" fmla="*/ 911 w 10006"/>
              <a:gd name="connsiteY18" fmla="*/ 9086 h 10508"/>
              <a:gd name="connsiteX19" fmla="*/ 950 w 10006"/>
              <a:gd name="connsiteY19" fmla="*/ 9285 h 10508"/>
              <a:gd name="connsiteX20" fmla="*/ 985 w 10006"/>
              <a:gd name="connsiteY20" fmla="*/ 9498 h 10508"/>
              <a:gd name="connsiteX21" fmla="*/ 1018 w 10006"/>
              <a:gd name="connsiteY21" fmla="*/ 9738 h 10508"/>
              <a:gd name="connsiteX22" fmla="*/ 1050 w 10006"/>
              <a:gd name="connsiteY22" fmla="*/ 9976 h 10508"/>
              <a:gd name="connsiteX23" fmla="*/ 1077 w 10006"/>
              <a:gd name="connsiteY23" fmla="*/ 10243 h 10508"/>
              <a:gd name="connsiteX24" fmla="*/ 1104 w 10006"/>
              <a:gd name="connsiteY24" fmla="*/ 10508 h 10508"/>
              <a:gd name="connsiteX25" fmla="*/ 1104 w 10006"/>
              <a:gd name="connsiteY25" fmla="*/ 10508 h 10508"/>
              <a:gd name="connsiteX26" fmla="*/ 1116 w 10006"/>
              <a:gd name="connsiteY26" fmla="*/ 10388 h 10508"/>
              <a:gd name="connsiteX27" fmla="*/ 1134 w 10006"/>
              <a:gd name="connsiteY27" fmla="*/ 10243 h 10508"/>
              <a:gd name="connsiteX28" fmla="*/ 1160 w 10006"/>
              <a:gd name="connsiteY28" fmla="*/ 10056 h 10508"/>
              <a:gd name="connsiteX29" fmla="*/ 1193 w 10006"/>
              <a:gd name="connsiteY29" fmla="*/ 9831 h 10508"/>
              <a:gd name="connsiteX30" fmla="*/ 1234 w 10006"/>
              <a:gd name="connsiteY30" fmla="*/ 9591 h 10508"/>
              <a:gd name="connsiteX31" fmla="*/ 1285 w 10006"/>
              <a:gd name="connsiteY31" fmla="*/ 9312 h 10508"/>
              <a:gd name="connsiteX32" fmla="*/ 1341 w 10006"/>
              <a:gd name="connsiteY32" fmla="*/ 9032 h 10508"/>
              <a:gd name="connsiteX33" fmla="*/ 1407 w 10006"/>
              <a:gd name="connsiteY33" fmla="*/ 8754 h 10508"/>
              <a:gd name="connsiteX34" fmla="*/ 1445 w 10006"/>
              <a:gd name="connsiteY34" fmla="*/ 8608 h 10508"/>
              <a:gd name="connsiteX35" fmla="*/ 1484 w 10006"/>
              <a:gd name="connsiteY35" fmla="*/ 8475 h 10508"/>
              <a:gd name="connsiteX36" fmla="*/ 1522 w 10006"/>
              <a:gd name="connsiteY36" fmla="*/ 8342 h 10508"/>
              <a:gd name="connsiteX37" fmla="*/ 1567 w 10006"/>
              <a:gd name="connsiteY37" fmla="*/ 8208 h 10508"/>
              <a:gd name="connsiteX38" fmla="*/ 1611 w 10006"/>
              <a:gd name="connsiteY38" fmla="*/ 8076 h 10508"/>
              <a:gd name="connsiteX39" fmla="*/ 1662 w 10006"/>
              <a:gd name="connsiteY39" fmla="*/ 7956 h 10508"/>
              <a:gd name="connsiteX40" fmla="*/ 1710 w 10006"/>
              <a:gd name="connsiteY40" fmla="*/ 7837 h 10508"/>
              <a:gd name="connsiteX41" fmla="*/ 1764 w 10006"/>
              <a:gd name="connsiteY41" fmla="*/ 7730 h 10508"/>
              <a:gd name="connsiteX42" fmla="*/ 1820 w 10006"/>
              <a:gd name="connsiteY42" fmla="*/ 7637 h 10508"/>
              <a:gd name="connsiteX43" fmla="*/ 1876 w 10006"/>
              <a:gd name="connsiteY43" fmla="*/ 7544 h 10508"/>
              <a:gd name="connsiteX44" fmla="*/ 1936 w 10006"/>
              <a:gd name="connsiteY44" fmla="*/ 7478 h 10508"/>
              <a:gd name="connsiteX45" fmla="*/ 2001 w 10006"/>
              <a:gd name="connsiteY45" fmla="*/ 7411 h 10508"/>
              <a:gd name="connsiteX46" fmla="*/ 2066 w 10006"/>
              <a:gd name="connsiteY46" fmla="*/ 7358 h 10508"/>
              <a:gd name="connsiteX47" fmla="*/ 2132 w 10006"/>
              <a:gd name="connsiteY47" fmla="*/ 7318 h 10508"/>
              <a:gd name="connsiteX48" fmla="*/ 9018 w 10006"/>
              <a:gd name="connsiteY48" fmla="*/ 7318 h 10508"/>
              <a:gd name="connsiteX49" fmla="*/ 9018 w 10006"/>
              <a:gd name="connsiteY49" fmla="*/ 7318 h 10508"/>
              <a:gd name="connsiteX50" fmla="*/ 9045 w 10006"/>
              <a:gd name="connsiteY50" fmla="*/ 7318 h 10508"/>
              <a:gd name="connsiteX51" fmla="*/ 9077 w 10006"/>
              <a:gd name="connsiteY51" fmla="*/ 7318 h 10508"/>
              <a:gd name="connsiteX52" fmla="*/ 9116 w 10006"/>
              <a:gd name="connsiteY52" fmla="*/ 7305 h 10508"/>
              <a:gd name="connsiteX53" fmla="*/ 9169 w 10006"/>
              <a:gd name="connsiteY53" fmla="*/ 7279 h 10508"/>
              <a:gd name="connsiteX54" fmla="*/ 9226 w 10006"/>
              <a:gd name="connsiteY54" fmla="*/ 7225 h 10508"/>
              <a:gd name="connsiteX55" fmla="*/ 9291 w 10006"/>
              <a:gd name="connsiteY55" fmla="*/ 7159 h 10508"/>
              <a:gd name="connsiteX56" fmla="*/ 9362 w 10006"/>
              <a:gd name="connsiteY56" fmla="*/ 7053 h 10508"/>
              <a:gd name="connsiteX57" fmla="*/ 9439 w 10006"/>
              <a:gd name="connsiteY57" fmla="*/ 6906 h 10508"/>
              <a:gd name="connsiteX58" fmla="*/ 9478 w 10006"/>
              <a:gd name="connsiteY58" fmla="*/ 6813 h 10508"/>
              <a:gd name="connsiteX59" fmla="*/ 9516 w 10006"/>
              <a:gd name="connsiteY59" fmla="*/ 6720 h 10508"/>
              <a:gd name="connsiteX60" fmla="*/ 9558 w 10006"/>
              <a:gd name="connsiteY60" fmla="*/ 6614 h 10508"/>
              <a:gd name="connsiteX61" fmla="*/ 9599 w 10006"/>
              <a:gd name="connsiteY61" fmla="*/ 6494 h 10508"/>
              <a:gd name="connsiteX62" fmla="*/ 9641 w 10006"/>
              <a:gd name="connsiteY62" fmla="*/ 6362 h 10508"/>
              <a:gd name="connsiteX63" fmla="*/ 9683 w 10006"/>
              <a:gd name="connsiteY63" fmla="*/ 6215 h 10508"/>
              <a:gd name="connsiteX64" fmla="*/ 9724 w 10006"/>
              <a:gd name="connsiteY64" fmla="*/ 6056 h 10508"/>
              <a:gd name="connsiteX65" fmla="*/ 9763 w 10006"/>
              <a:gd name="connsiteY65" fmla="*/ 5883 h 10508"/>
              <a:gd name="connsiteX66" fmla="*/ 9804 w 10006"/>
              <a:gd name="connsiteY66" fmla="*/ 5684 h 10508"/>
              <a:gd name="connsiteX67" fmla="*/ 9846 w 10006"/>
              <a:gd name="connsiteY67" fmla="*/ 5484 h 10508"/>
              <a:gd name="connsiteX68" fmla="*/ 9884 w 10006"/>
              <a:gd name="connsiteY68" fmla="*/ 5258 h 10508"/>
              <a:gd name="connsiteX69" fmla="*/ 9923 w 10006"/>
              <a:gd name="connsiteY69" fmla="*/ 5020 h 10508"/>
              <a:gd name="connsiteX70" fmla="*/ 9961 w 10006"/>
              <a:gd name="connsiteY70" fmla="*/ 4767 h 10508"/>
              <a:gd name="connsiteX71" fmla="*/ 10000 w 10006"/>
              <a:gd name="connsiteY71" fmla="*/ 4488 h 10508"/>
              <a:gd name="connsiteX72" fmla="*/ 10006 w 10006"/>
              <a:gd name="connsiteY72" fmla="*/ 0 h 10508"/>
              <a:gd name="connsiteX73" fmla="*/ 0 w 10006"/>
              <a:gd name="connsiteY73" fmla="*/ 0 h 1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6" h="10508">
                <a:moveTo>
                  <a:pt x="0" y="0"/>
                </a:moveTo>
                <a:lnTo>
                  <a:pt x="3" y="7212"/>
                </a:lnTo>
                <a:lnTo>
                  <a:pt x="3" y="7212"/>
                </a:lnTo>
                <a:cubicBezTo>
                  <a:pt x="16" y="7221"/>
                  <a:pt x="29" y="7229"/>
                  <a:pt x="42" y="7239"/>
                </a:cubicBezTo>
                <a:cubicBezTo>
                  <a:pt x="56" y="7248"/>
                  <a:pt x="69" y="7257"/>
                  <a:pt x="83" y="7266"/>
                </a:cubicBezTo>
                <a:cubicBezTo>
                  <a:pt x="102" y="7279"/>
                  <a:pt x="120" y="7292"/>
                  <a:pt x="139" y="7305"/>
                </a:cubicBezTo>
                <a:cubicBezTo>
                  <a:pt x="162" y="7327"/>
                  <a:pt x="185" y="7349"/>
                  <a:pt x="208" y="7372"/>
                </a:cubicBezTo>
                <a:cubicBezTo>
                  <a:pt x="234" y="7403"/>
                  <a:pt x="259" y="7434"/>
                  <a:pt x="285" y="7465"/>
                </a:cubicBezTo>
                <a:cubicBezTo>
                  <a:pt x="314" y="7505"/>
                  <a:pt x="342" y="7545"/>
                  <a:pt x="371" y="7585"/>
                </a:cubicBezTo>
                <a:cubicBezTo>
                  <a:pt x="401" y="7633"/>
                  <a:pt x="430" y="7682"/>
                  <a:pt x="460" y="7730"/>
                </a:cubicBezTo>
                <a:cubicBezTo>
                  <a:pt x="492" y="7792"/>
                  <a:pt x="523" y="7854"/>
                  <a:pt x="555" y="7916"/>
                </a:cubicBezTo>
                <a:cubicBezTo>
                  <a:pt x="570" y="7951"/>
                  <a:pt x="584" y="7987"/>
                  <a:pt x="599" y="8022"/>
                </a:cubicBezTo>
                <a:cubicBezTo>
                  <a:pt x="615" y="8063"/>
                  <a:pt x="631" y="8102"/>
                  <a:pt x="647" y="8142"/>
                </a:cubicBezTo>
                <a:cubicBezTo>
                  <a:pt x="663" y="8187"/>
                  <a:pt x="678" y="8231"/>
                  <a:pt x="694" y="8275"/>
                </a:cubicBezTo>
                <a:cubicBezTo>
                  <a:pt x="709" y="8320"/>
                  <a:pt x="724" y="8364"/>
                  <a:pt x="739" y="8409"/>
                </a:cubicBezTo>
                <a:cubicBezTo>
                  <a:pt x="754" y="8461"/>
                  <a:pt x="768" y="8515"/>
                  <a:pt x="783" y="8568"/>
                </a:cubicBezTo>
                <a:cubicBezTo>
                  <a:pt x="798" y="8620"/>
                  <a:pt x="813" y="8674"/>
                  <a:pt x="828" y="8727"/>
                </a:cubicBezTo>
                <a:cubicBezTo>
                  <a:pt x="842" y="8785"/>
                  <a:pt x="855" y="8842"/>
                  <a:pt x="869" y="8900"/>
                </a:cubicBezTo>
                <a:lnTo>
                  <a:pt x="911" y="9086"/>
                </a:lnTo>
                <a:cubicBezTo>
                  <a:pt x="924" y="9152"/>
                  <a:pt x="937" y="9219"/>
                  <a:pt x="950" y="9285"/>
                </a:cubicBezTo>
                <a:cubicBezTo>
                  <a:pt x="962" y="9357"/>
                  <a:pt x="973" y="9427"/>
                  <a:pt x="985" y="9498"/>
                </a:cubicBezTo>
                <a:lnTo>
                  <a:pt x="1018" y="9738"/>
                </a:lnTo>
                <a:cubicBezTo>
                  <a:pt x="1029" y="9817"/>
                  <a:pt x="1039" y="9897"/>
                  <a:pt x="1050" y="9976"/>
                </a:cubicBezTo>
                <a:lnTo>
                  <a:pt x="1077" y="10243"/>
                </a:lnTo>
                <a:cubicBezTo>
                  <a:pt x="1086" y="10331"/>
                  <a:pt x="1095" y="10419"/>
                  <a:pt x="1104" y="10508"/>
                </a:cubicBezTo>
                <a:lnTo>
                  <a:pt x="1104" y="10508"/>
                </a:lnTo>
                <a:lnTo>
                  <a:pt x="1116" y="10388"/>
                </a:lnTo>
                <a:cubicBezTo>
                  <a:pt x="1122" y="10340"/>
                  <a:pt x="1128" y="10291"/>
                  <a:pt x="1134" y="10243"/>
                </a:cubicBezTo>
                <a:cubicBezTo>
                  <a:pt x="1143" y="10181"/>
                  <a:pt x="1151" y="10118"/>
                  <a:pt x="1160" y="10056"/>
                </a:cubicBezTo>
                <a:cubicBezTo>
                  <a:pt x="1171" y="9980"/>
                  <a:pt x="1182" y="9906"/>
                  <a:pt x="1193" y="9831"/>
                </a:cubicBezTo>
                <a:cubicBezTo>
                  <a:pt x="1207" y="9751"/>
                  <a:pt x="1220" y="9671"/>
                  <a:pt x="1234" y="9591"/>
                </a:cubicBezTo>
                <a:lnTo>
                  <a:pt x="1285" y="9312"/>
                </a:lnTo>
                <a:cubicBezTo>
                  <a:pt x="1304" y="9219"/>
                  <a:pt x="1322" y="9125"/>
                  <a:pt x="1341" y="9032"/>
                </a:cubicBezTo>
                <a:cubicBezTo>
                  <a:pt x="1363" y="8939"/>
                  <a:pt x="1385" y="8847"/>
                  <a:pt x="1407" y="8754"/>
                </a:cubicBezTo>
                <a:cubicBezTo>
                  <a:pt x="1420" y="8705"/>
                  <a:pt x="1432" y="8656"/>
                  <a:pt x="1445" y="8608"/>
                </a:cubicBezTo>
                <a:cubicBezTo>
                  <a:pt x="1458" y="8564"/>
                  <a:pt x="1471" y="8519"/>
                  <a:pt x="1484" y="8475"/>
                </a:cubicBezTo>
                <a:cubicBezTo>
                  <a:pt x="1497" y="8430"/>
                  <a:pt x="1509" y="8386"/>
                  <a:pt x="1522" y="8342"/>
                </a:cubicBezTo>
                <a:cubicBezTo>
                  <a:pt x="1537" y="8297"/>
                  <a:pt x="1552" y="8253"/>
                  <a:pt x="1567" y="8208"/>
                </a:cubicBezTo>
                <a:cubicBezTo>
                  <a:pt x="1582" y="8164"/>
                  <a:pt x="1596" y="8121"/>
                  <a:pt x="1611" y="8076"/>
                </a:cubicBezTo>
                <a:cubicBezTo>
                  <a:pt x="1628" y="8036"/>
                  <a:pt x="1645" y="7997"/>
                  <a:pt x="1662" y="7956"/>
                </a:cubicBezTo>
                <a:cubicBezTo>
                  <a:pt x="1679" y="7916"/>
                  <a:pt x="1694" y="7877"/>
                  <a:pt x="1710" y="7837"/>
                </a:cubicBezTo>
                <a:cubicBezTo>
                  <a:pt x="1728" y="7801"/>
                  <a:pt x="1746" y="7765"/>
                  <a:pt x="1764" y="7730"/>
                </a:cubicBezTo>
                <a:cubicBezTo>
                  <a:pt x="1783" y="7699"/>
                  <a:pt x="1801" y="7668"/>
                  <a:pt x="1820" y="7637"/>
                </a:cubicBezTo>
                <a:cubicBezTo>
                  <a:pt x="1839" y="7606"/>
                  <a:pt x="1857" y="7575"/>
                  <a:pt x="1876" y="7544"/>
                </a:cubicBezTo>
                <a:cubicBezTo>
                  <a:pt x="1896" y="7523"/>
                  <a:pt x="1916" y="7500"/>
                  <a:pt x="1936" y="7478"/>
                </a:cubicBezTo>
                <a:cubicBezTo>
                  <a:pt x="1958" y="7456"/>
                  <a:pt x="1979" y="7433"/>
                  <a:pt x="2001" y="7411"/>
                </a:cubicBezTo>
                <a:cubicBezTo>
                  <a:pt x="2023" y="7394"/>
                  <a:pt x="2044" y="7376"/>
                  <a:pt x="2066" y="7358"/>
                </a:cubicBezTo>
                <a:cubicBezTo>
                  <a:pt x="2088" y="7345"/>
                  <a:pt x="2110" y="7331"/>
                  <a:pt x="2132" y="7318"/>
                </a:cubicBezTo>
                <a:lnTo>
                  <a:pt x="9018" y="7318"/>
                </a:lnTo>
                <a:lnTo>
                  <a:pt x="9018" y="7318"/>
                </a:lnTo>
                <a:lnTo>
                  <a:pt x="9045" y="7318"/>
                </a:lnTo>
                <a:lnTo>
                  <a:pt x="9077" y="7318"/>
                </a:lnTo>
                <a:cubicBezTo>
                  <a:pt x="9090" y="7314"/>
                  <a:pt x="9103" y="7309"/>
                  <a:pt x="9116" y="7305"/>
                </a:cubicBezTo>
                <a:cubicBezTo>
                  <a:pt x="9134" y="7297"/>
                  <a:pt x="9151" y="7287"/>
                  <a:pt x="9169" y="7279"/>
                </a:cubicBezTo>
                <a:lnTo>
                  <a:pt x="9226" y="7225"/>
                </a:lnTo>
                <a:cubicBezTo>
                  <a:pt x="9248" y="7204"/>
                  <a:pt x="9269" y="7181"/>
                  <a:pt x="9291" y="7159"/>
                </a:cubicBezTo>
                <a:cubicBezTo>
                  <a:pt x="9315" y="7124"/>
                  <a:pt x="9338" y="7088"/>
                  <a:pt x="9362" y="7053"/>
                </a:cubicBezTo>
                <a:cubicBezTo>
                  <a:pt x="9388" y="7004"/>
                  <a:pt x="9413" y="6955"/>
                  <a:pt x="9439" y="6906"/>
                </a:cubicBezTo>
                <a:lnTo>
                  <a:pt x="9478" y="6813"/>
                </a:lnTo>
                <a:cubicBezTo>
                  <a:pt x="9491" y="6782"/>
                  <a:pt x="9503" y="6751"/>
                  <a:pt x="9516" y="6720"/>
                </a:cubicBezTo>
                <a:cubicBezTo>
                  <a:pt x="9530" y="6685"/>
                  <a:pt x="9544" y="6649"/>
                  <a:pt x="9558" y="6614"/>
                </a:cubicBezTo>
                <a:cubicBezTo>
                  <a:pt x="9572" y="6574"/>
                  <a:pt x="9585" y="6534"/>
                  <a:pt x="9599" y="6494"/>
                </a:cubicBezTo>
                <a:lnTo>
                  <a:pt x="9641" y="6362"/>
                </a:lnTo>
                <a:lnTo>
                  <a:pt x="9683" y="6215"/>
                </a:lnTo>
                <a:cubicBezTo>
                  <a:pt x="9697" y="6163"/>
                  <a:pt x="9710" y="6109"/>
                  <a:pt x="9724" y="6056"/>
                </a:cubicBezTo>
                <a:cubicBezTo>
                  <a:pt x="9737" y="5998"/>
                  <a:pt x="9750" y="5941"/>
                  <a:pt x="9763" y="5883"/>
                </a:cubicBezTo>
                <a:cubicBezTo>
                  <a:pt x="9777" y="5817"/>
                  <a:pt x="9790" y="5750"/>
                  <a:pt x="9804" y="5684"/>
                </a:cubicBezTo>
                <a:cubicBezTo>
                  <a:pt x="9818" y="5617"/>
                  <a:pt x="9832" y="5550"/>
                  <a:pt x="9846" y="5484"/>
                </a:cubicBezTo>
                <a:cubicBezTo>
                  <a:pt x="9859" y="5409"/>
                  <a:pt x="9871" y="5333"/>
                  <a:pt x="9884" y="5258"/>
                </a:cubicBezTo>
                <a:cubicBezTo>
                  <a:pt x="9897" y="5179"/>
                  <a:pt x="9910" y="5099"/>
                  <a:pt x="9923" y="5020"/>
                </a:cubicBezTo>
                <a:cubicBezTo>
                  <a:pt x="9936" y="4935"/>
                  <a:pt x="9948" y="4851"/>
                  <a:pt x="9961" y="4767"/>
                </a:cubicBezTo>
                <a:lnTo>
                  <a:pt x="10000" y="4488"/>
                </a:lnTo>
                <a:lnTo>
                  <a:pt x="10006"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6"/>
          <p:cNvSpPr>
            <a:spLocks/>
          </p:cNvSpPr>
          <p:nvPr/>
        </p:nvSpPr>
        <p:spPr bwMode="auto">
          <a:xfrm>
            <a:off x="0" y="764775"/>
            <a:ext cx="9906000" cy="1672556"/>
          </a:xfrm>
          <a:custGeom>
            <a:avLst/>
            <a:gdLst/>
            <a:ahLst/>
            <a:cxnLst>
              <a:cxn ang="0">
                <a:pos x="24" y="452"/>
              </a:cxn>
              <a:cxn ang="0">
                <a:pos x="134" y="458"/>
              </a:cxn>
              <a:cxn ang="0">
                <a:pos x="300" y="496"/>
              </a:cxn>
              <a:cxn ang="0">
                <a:pos x="394" y="534"/>
              </a:cxn>
              <a:cxn ang="0">
                <a:pos x="490" y="586"/>
              </a:cxn>
              <a:cxn ang="0">
                <a:pos x="582" y="660"/>
              </a:cxn>
              <a:cxn ang="0">
                <a:pos x="666" y="754"/>
              </a:cxn>
              <a:cxn ang="0">
                <a:pos x="740" y="874"/>
              </a:cxn>
              <a:cxn ang="0">
                <a:pos x="768" y="900"/>
              </a:cxn>
              <a:cxn ang="0">
                <a:pos x="810" y="816"/>
              </a:cxn>
              <a:cxn ang="0">
                <a:pos x="902" y="694"/>
              </a:cxn>
              <a:cxn ang="0">
                <a:pos x="970" y="630"/>
              </a:cxn>
              <a:cxn ang="0">
                <a:pos x="1054" y="570"/>
              </a:cxn>
              <a:cxn ang="0">
                <a:pos x="1154" y="518"/>
              </a:cxn>
              <a:cxn ang="0">
                <a:pos x="1276" y="478"/>
              </a:cxn>
              <a:cxn ang="0">
                <a:pos x="1418" y="456"/>
              </a:cxn>
              <a:cxn ang="0">
                <a:pos x="6030" y="452"/>
              </a:cxn>
              <a:cxn ang="0">
                <a:pos x="6076" y="450"/>
              </a:cxn>
              <a:cxn ang="0">
                <a:pos x="6198" y="430"/>
              </a:cxn>
              <a:cxn ang="0">
                <a:pos x="6334" y="388"/>
              </a:cxn>
              <a:cxn ang="0">
                <a:pos x="6422" y="346"/>
              </a:cxn>
              <a:cxn ang="0">
                <a:pos x="6512" y="288"/>
              </a:cxn>
              <a:cxn ang="0">
                <a:pos x="6596" y="214"/>
              </a:cxn>
              <a:cxn ang="0">
                <a:pos x="6674" y="118"/>
              </a:cxn>
              <a:cxn ang="0">
                <a:pos x="6740" y="0"/>
              </a:cxn>
              <a:cxn ang="0">
                <a:pos x="6734" y="234"/>
              </a:cxn>
              <a:cxn ang="0">
                <a:pos x="6690" y="316"/>
              </a:cxn>
              <a:cxn ang="0">
                <a:pos x="6598" y="434"/>
              </a:cxn>
              <a:cxn ang="0">
                <a:pos x="6532" y="496"/>
              </a:cxn>
              <a:cxn ang="0">
                <a:pos x="6448" y="556"/>
              </a:cxn>
              <a:cxn ang="0">
                <a:pos x="6348" y="608"/>
              </a:cxn>
              <a:cxn ang="0">
                <a:pos x="6230" y="648"/>
              </a:cxn>
              <a:cxn ang="0">
                <a:pos x="6090" y="672"/>
              </a:cxn>
              <a:cxn ang="0">
                <a:pos x="1504" y="680"/>
              </a:cxn>
              <a:cxn ang="0">
                <a:pos x="1452" y="680"/>
              </a:cxn>
              <a:cxn ang="0">
                <a:pos x="1322" y="694"/>
              </a:cxn>
              <a:cxn ang="0">
                <a:pos x="1178" y="736"/>
              </a:cxn>
              <a:cxn ang="0">
                <a:pos x="1086" y="778"/>
              </a:cxn>
              <a:cxn ang="0">
                <a:pos x="992" y="836"/>
              </a:cxn>
              <a:cxn ang="0">
                <a:pos x="904" y="914"/>
              </a:cxn>
              <a:cxn ang="0">
                <a:pos x="826" y="1014"/>
              </a:cxn>
              <a:cxn ang="0">
                <a:pos x="760" y="1138"/>
              </a:cxn>
              <a:cxn ang="0">
                <a:pos x="740" y="1094"/>
              </a:cxn>
              <a:cxn ang="0">
                <a:pos x="672" y="990"/>
              </a:cxn>
              <a:cxn ang="0">
                <a:pos x="576" y="882"/>
              </a:cxn>
              <a:cxn ang="0">
                <a:pos x="496" y="818"/>
              </a:cxn>
              <a:cxn ang="0">
                <a:pos x="400" y="760"/>
              </a:cxn>
              <a:cxn ang="0">
                <a:pos x="286" y="716"/>
              </a:cxn>
              <a:cxn ang="0">
                <a:pos x="154" y="686"/>
              </a:cxn>
              <a:cxn ang="0">
                <a:pos x="0" y="676"/>
              </a:cxn>
            </a:cxnLst>
            <a:rect l="0" t="0" r="r" b="b"/>
            <a:pathLst>
              <a:path w="6740" h="1138">
                <a:moveTo>
                  <a:pt x="0" y="452"/>
                </a:moveTo>
                <a:lnTo>
                  <a:pt x="0" y="452"/>
                </a:lnTo>
                <a:lnTo>
                  <a:pt x="24" y="452"/>
                </a:lnTo>
                <a:lnTo>
                  <a:pt x="52" y="452"/>
                </a:lnTo>
                <a:lnTo>
                  <a:pt x="88" y="454"/>
                </a:lnTo>
                <a:lnTo>
                  <a:pt x="134" y="458"/>
                </a:lnTo>
                <a:lnTo>
                  <a:pt x="184" y="466"/>
                </a:lnTo>
                <a:lnTo>
                  <a:pt x="240" y="478"/>
                </a:lnTo>
                <a:lnTo>
                  <a:pt x="300" y="496"/>
                </a:lnTo>
                <a:lnTo>
                  <a:pt x="330" y="506"/>
                </a:lnTo>
                <a:lnTo>
                  <a:pt x="362" y="518"/>
                </a:lnTo>
                <a:lnTo>
                  <a:pt x="394" y="534"/>
                </a:lnTo>
                <a:lnTo>
                  <a:pt x="426" y="548"/>
                </a:lnTo>
                <a:lnTo>
                  <a:pt x="458" y="566"/>
                </a:lnTo>
                <a:lnTo>
                  <a:pt x="490" y="586"/>
                </a:lnTo>
                <a:lnTo>
                  <a:pt x="520" y="608"/>
                </a:lnTo>
                <a:lnTo>
                  <a:pt x="552" y="632"/>
                </a:lnTo>
                <a:lnTo>
                  <a:pt x="582" y="660"/>
                </a:lnTo>
                <a:lnTo>
                  <a:pt x="610" y="688"/>
                </a:lnTo>
                <a:lnTo>
                  <a:pt x="638" y="720"/>
                </a:lnTo>
                <a:lnTo>
                  <a:pt x="666" y="754"/>
                </a:lnTo>
                <a:lnTo>
                  <a:pt x="692" y="790"/>
                </a:lnTo>
                <a:lnTo>
                  <a:pt x="716" y="830"/>
                </a:lnTo>
                <a:lnTo>
                  <a:pt x="740" y="874"/>
                </a:lnTo>
                <a:lnTo>
                  <a:pt x="760" y="920"/>
                </a:lnTo>
                <a:lnTo>
                  <a:pt x="760" y="920"/>
                </a:lnTo>
                <a:lnTo>
                  <a:pt x="768" y="900"/>
                </a:lnTo>
                <a:lnTo>
                  <a:pt x="776" y="878"/>
                </a:lnTo>
                <a:lnTo>
                  <a:pt x="790" y="850"/>
                </a:lnTo>
                <a:lnTo>
                  <a:pt x="810" y="816"/>
                </a:lnTo>
                <a:lnTo>
                  <a:pt x="834" y="778"/>
                </a:lnTo>
                <a:lnTo>
                  <a:pt x="866" y="736"/>
                </a:lnTo>
                <a:lnTo>
                  <a:pt x="902" y="694"/>
                </a:lnTo>
                <a:lnTo>
                  <a:pt x="922" y="672"/>
                </a:lnTo>
                <a:lnTo>
                  <a:pt x="944" y="652"/>
                </a:lnTo>
                <a:lnTo>
                  <a:pt x="970" y="630"/>
                </a:lnTo>
                <a:lnTo>
                  <a:pt x="996" y="610"/>
                </a:lnTo>
                <a:lnTo>
                  <a:pt x="1024" y="590"/>
                </a:lnTo>
                <a:lnTo>
                  <a:pt x="1054" y="570"/>
                </a:lnTo>
                <a:lnTo>
                  <a:pt x="1084" y="552"/>
                </a:lnTo>
                <a:lnTo>
                  <a:pt x="1118" y="534"/>
                </a:lnTo>
                <a:lnTo>
                  <a:pt x="1154" y="518"/>
                </a:lnTo>
                <a:lnTo>
                  <a:pt x="1192" y="504"/>
                </a:lnTo>
                <a:lnTo>
                  <a:pt x="1234" y="490"/>
                </a:lnTo>
                <a:lnTo>
                  <a:pt x="1276" y="478"/>
                </a:lnTo>
                <a:lnTo>
                  <a:pt x="1320" y="468"/>
                </a:lnTo>
                <a:lnTo>
                  <a:pt x="1368" y="460"/>
                </a:lnTo>
                <a:lnTo>
                  <a:pt x="1418" y="456"/>
                </a:lnTo>
                <a:lnTo>
                  <a:pt x="1470" y="452"/>
                </a:lnTo>
                <a:lnTo>
                  <a:pt x="4218" y="452"/>
                </a:lnTo>
                <a:lnTo>
                  <a:pt x="6030" y="452"/>
                </a:lnTo>
                <a:lnTo>
                  <a:pt x="6030" y="452"/>
                </a:lnTo>
                <a:lnTo>
                  <a:pt x="6052" y="452"/>
                </a:lnTo>
                <a:lnTo>
                  <a:pt x="6076" y="450"/>
                </a:lnTo>
                <a:lnTo>
                  <a:pt x="6110" y="446"/>
                </a:lnTo>
                <a:lnTo>
                  <a:pt x="6152" y="440"/>
                </a:lnTo>
                <a:lnTo>
                  <a:pt x="6198" y="430"/>
                </a:lnTo>
                <a:lnTo>
                  <a:pt x="6250" y="418"/>
                </a:lnTo>
                <a:lnTo>
                  <a:pt x="6306" y="400"/>
                </a:lnTo>
                <a:lnTo>
                  <a:pt x="6334" y="388"/>
                </a:lnTo>
                <a:lnTo>
                  <a:pt x="6364" y="376"/>
                </a:lnTo>
                <a:lnTo>
                  <a:pt x="6392" y="362"/>
                </a:lnTo>
                <a:lnTo>
                  <a:pt x="6422" y="346"/>
                </a:lnTo>
                <a:lnTo>
                  <a:pt x="6452" y="328"/>
                </a:lnTo>
                <a:lnTo>
                  <a:pt x="6482" y="310"/>
                </a:lnTo>
                <a:lnTo>
                  <a:pt x="6512" y="288"/>
                </a:lnTo>
                <a:lnTo>
                  <a:pt x="6540" y="266"/>
                </a:lnTo>
                <a:lnTo>
                  <a:pt x="6568" y="240"/>
                </a:lnTo>
                <a:lnTo>
                  <a:pt x="6596" y="214"/>
                </a:lnTo>
                <a:lnTo>
                  <a:pt x="6624" y="184"/>
                </a:lnTo>
                <a:lnTo>
                  <a:pt x="6650" y="152"/>
                </a:lnTo>
                <a:lnTo>
                  <a:pt x="6674" y="118"/>
                </a:lnTo>
                <a:lnTo>
                  <a:pt x="6698" y="80"/>
                </a:lnTo>
                <a:lnTo>
                  <a:pt x="6720" y="42"/>
                </a:lnTo>
                <a:lnTo>
                  <a:pt x="6740" y="0"/>
                </a:lnTo>
                <a:lnTo>
                  <a:pt x="6740" y="216"/>
                </a:lnTo>
                <a:lnTo>
                  <a:pt x="6740" y="216"/>
                </a:lnTo>
                <a:lnTo>
                  <a:pt x="6734" y="234"/>
                </a:lnTo>
                <a:lnTo>
                  <a:pt x="6724" y="256"/>
                </a:lnTo>
                <a:lnTo>
                  <a:pt x="6708" y="282"/>
                </a:lnTo>
                <a:lnTo>
                  <a:pt x="6690" y="316"/>
                </a:lnTo>
                <a:lnTo>
                  <a:pt x="6666" y="352"/>
                </a:lnTo>
                <a:lnTo>
                  <a:pt x="6634" y="392"/>
                </a:lnTo>
                <a:lnTo>
                  <a:pt x="6598" y="434"/>
                </a:lnTo>
                <a:lnTo>
                  <a:pt x="6578" y="454"/>
                </a:lnTo>
                <a:lnTo>
                  <a:pt x="6556" y="476"/>
                </a:lnTo>
                <a:lnTo>
                  <a:pt x="6532" y="496"/>
                </a:lnTo>
                <a:lnTo>
                  <a:pt x="6506" y="516"/>
                </a:lnTo>
                <a:lnTo>
                  <a:pt x="6478" y="536"/>
                </a:lnTo>
                <a:lnTo>
                  <a:pt x="6448" y="556"/>
                </a:lnTo>
                <a:lnTo>
                  <a:pt x="6416" y="574"/>
                </a:lnTo>
                <a:lnTo>
                  <a:pt x="6384" y="590"/>
                </a:lnTo>
                <a:lnTo>
                  <a:pt x="6348" y="608"/>
                </a:lnTo>
                <a:lnTo>
                  <a:pt x="6310" y="622"/>
                </a:lnTo>
                <a:lnTo>
                  <a:pt x="6272" y="636"/>
                </a:lnTo>
                <a:lnTo>
                  <a:pt x="6230" y="648"/>
                </a:lnTo>
                <a:lnTo>
                  <a:pt x="6186" y="658"/>
                </a:lnTo>
                <a:lnTo>
                  <a:pt x="6140" y="666"/>
                </a:lnTo>
                <a:lnTo>
                  <a:pt x="6090" y="672"/>
                </a:lnTo>
                <a:lnTo>
                  <a:pt x="6040" y="676"/>
                </a:lnTo>
                <a:lnTo>
                  <a:pt x="3338" y="676"/>
                </a:lnTo>
                <a:lnTo>
                  <a:pt x="1504" y="680"/>
                </a:lnTo>
                <a:lnTo>
                  <a:pt x="1504" y="680"/>
                </a:lnTo>
                <a:lnTo>
                  <a:pt x="1480" y="678"/>
                </a:lnTo>
                <a:lnTo>
                  <a:pt x="1452" y="680"/>
                </a:lnTo>
                <a:lnTo>
                  <a:pt x="1416" y="682"/>
                </a:lnTo>
                <a:lnTo>
                  <a:pt x="1372" y="686"/>
                </a:lnTo>
                <a:lnTo>
                  <a:pt x="1322" y="694"/>
                </a:lnTo>
                <a:lnTo>
                  <a:pt x="1268" y="708"/>
                </a:lnTo>
                <a:lnTo>
                  <a:pt x="1208" y="724"/>
                </a:lnTo>
                <a:lnTo>
                  <a:pt x="1178" y="736"/>
                </a:lnTo>
                <a:lnTo>
                  <a:pt x="1148" y="748"/>
                </a:lnTo>
                <a:lnTo>
                  <a:pt x="1116" y="762"/>
                </a:lnTo>
                <a:lnTo>
                  <a:pt x="1086" y="778"/>
                </a:lnTo>
                <a:lnTo>
                  <a:pt x="1054" y="794"/>
                </a:lnTo>
                <a:lnTo>
                  <a:pt x="1024" y="814"/>
                </a:lnTo>
                <a:lnTo>
                  <a:pt x="992" y="836"/>
                </a:lnTo>
                <a:lnTo>
                  <a:pt x="962" y="860"/>
                </a:lnTo>
                <a:lnTo>
                  <a:pt x="934" y="886"/>
                </a:lnTo>
                <a:lnTo>
                  <a:pt x="904" y="914"/>
                </a:lnTo>
                <a:lnTo>
                  <a:pt x="878" y="944"/>
                </a:lnTo>
                <a:lnTo>
                  <a:pt x="850" y="978"/>
                </a:lnTo>
                <a:lnTo>
                  <a:pt x="826" y="1014"/>
                </a:lnTo>
                <a:lnTo>
                  <a:pt x="802" y="1052"/>
                </a:lnTo>
                <a:lnTo>
                  <a:pt x="780" y="1094"/>
                </a:lnTo>
                <a:lnTo>
                  <a:pt x="760" y="1138"/>
                </a:lnTo>
                <a:lnTo>
                  <a:pt x="760" y="1138"/>
                </a:lnTo>
                <a:lnTo>
                  <a:pt x="752" y="1118"/>
                </a:lnTo>
                <a:lnTo>
                  <a:pt x="740" y="1094"/>
                </a:lnTo>
                <a:lnTo>
                  <a:pt x="724" y="1064"/>
                </a:lnTo>
                <a:lnTo>
                  <a:pt x="700" y="1028"/>
                </a:lnTo>
                <a:lnTo>
                  <a:pt x="672" y="990"/>
                </a:lnTo>
                <a:lnTo>
                  <a:pt x="638" y="946"/>
                </a:lnTo>
                <a:lnTo>
                  <a:pt x="598" y="904"/>
                </a:lnTo>
                <a:lnTo>
                  <a:pt x="576" y="882"/>
                </a:lnTo>
                <a:lnTo>
                  <a:pt x="550" y="860"/>
                </a:lnTo>
                <a:lnTo>
                  <a:pt x="524" y="838"/>
                </a:lnTo>
                <a:lnTo>
                  <a:pt x="496" y="818"/>
                </a:lnTo>
                <a:lnTo>
                  <a:pt x="466" y="798"/>
                </a:lnTo>
                <a:lnTo>
                  <a:pt x="434" y="778"/>
                </a:lnTo>
                <a:lnTo>
                  <a:pt x="400" y="760"/>
                </a:lnTo>
                <a:lnTo>
                  <a:pt x="364" y="744"/>
                </a:lnTo>
                <a:lnTo>
                  <a:pt x="326" y="728"/>
                </a:lnTo>
                <a:lnTo>
                  <a:pt x="286" y="716"/>
                </a:lnTo>
                <a:lnTo>
                  <a:pt x="244" y="704"/>
                </a:lnTo>
                <a:lnTo>
                  <a:pt x="200" y="694"/>
                </a:lnTo>
                <a:lnTo>
                  <a:pt x="154" y="686"/>
                </a:lnTo>
                <a:lnTo>
                  <a:pt x="104" y="680"/>
                </a:lnTo>
                <a:lnTo>
                  <a:pt x="54" y="676"/>
                </a:lnTo>
                <a:lnTo>
                  <a:pt x="0" y="676"/>
                </a:lnTo>
                <a:lnTo>
                  <a:pt x="0" y="452"/>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29" name="Picture 28" descr="Capgemini_logo_cover.jpg"/>
          <p:cNvPicPr>
            <a:picLocks noChangeAspect="1"/>
          </p:cNvPicPr>
          <p:nvPr/>
        </p:nvPicPr>
        <p:blipFill>
          <a:blip r:embed="rId11"/>
          <a:stretch>
            <a:fillRect/>
          </a:stretch>
        </p:blipFill>
        <p:spPr>
          <a:xfrm>
            <a:off x="482184" y="440835"/>
            <a:ext cx="2305948" cy="546076"/>
          </a:xfrm>
          <a:prstGeom prst="rect">
            <a:avLst/>
          </a:prstGeom>
        </p:spPr>
      </p:pic>
      <p:pic>
        <p:nvPicPr>
          <p:cNvPr id="35"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7114350" y="6529926"/>
            <a:ext cx="2304288" cy="183504"/>
          </a:xfrm>
          <a:prstGeom prst="rect">
            <a:avLst/>
          </a:prstGeom>
          <a:noFill/>
        </p:spPr>
      </p:pic>
      <p:pic>
        <p:nvPicPr>
          <p:cNvPr id="37" name="Picture 12">
            <a:hlinkClick r:id="rId13" action="ppaction://hlinksldjump"/>
          </p:cNvPr>
          <p:cNvPicPr>
            <a:picLocks noChangeAspect="1" noChangeArrowheads="1"/>
          </p:cNvPicPr>
          <p:nvPr/>
        </p:nvPicPr>
        <p:blipFill>
          <a:blip r:embed="rId14">
            <a:duotone>
              <a:prstClr val="black"/>
              <a:schemeClr val="accent5">
                <a:tint val="45000"/>
                <a:satMod val="400000"/>
              </a:schemeClr>
            </a:duotone>
          </a:blip>
          <a:srcRect/>
          <a:stretch>
            <a:fillRect/>
          </a:stretch>
        </p:blipFill>
        <p:spPr bwMode="auto">
          <a:xfrm>
            <a:off x="1103314" y="6521094"/>
            <a:ext cx="193121" cy="201168"/>
          </a:xfrm>
          <a:prstGeom prst="rect">
            <a:avLst/>
          </a:prstGeom>
          <a:noFill/>
          <a:ln w="9525">
            <a:noFill/>
            <a:miter lim="800000"/>
            <a:headEnd/>
            <a:tailEnd/>
          </a:ln>
          <a:effectLst/>
        </p:spPr>
      </p:pic>
      <p:sp>
        <p:nvSpPr>
          <p:cNvPr id="20" name="Rectangle 19"/>
          <p:cNvSpPr/>
          <p:nvPr/>
        </p:nvSpPr>
        <p:spPr>
          <a:xfrm>
            <a:off x="4065973" y="3266572"/>
            <a:ext cx="5530788" cy="1485022"/>
          </a:xfrm>
          <a:prstGeom prst="rect">
            <a:avLst/>
          </a:prstGeom>
        </p:spPr>
        <p:txBody>
          <a:bodyPr wrap="square">
            <a:spAutoFit/>
          </a:bodyPr>
          <a:lstStyle/>
          <a:p>
            <a:pPr marL="0" indent="0" algn="just">
              <a:spcAft>
                <a:spcPts val="600"/>
              </a:spcAft>
            </a:pPr>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spcAft>
                <a:spcPts val="600"/>
              </a:spcAft>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Aft>
                <a:spcPts val="600"/>
              </a:spcAft>
            </a:pPr>
            <a:endParaRPr lang="en-US" sz="1050" dirty="0">
              <a:solidFill>
                <a:schemeClr val="bg1"/>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968" r:id="rId1"/>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4"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gif"/><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re 11"/>
          <p:cNvSpPr>
            <a:spLocks noGrp="1"/>
          </p:cNvSpPr>
          <p:nvPr>
            <p:ph type="ctrTitle"/>
          </p:nvPr>
        </p:nvSpPr>
        <p:spPr>
          <a:xfrm>
            <a:off x="493713" y="2443207"/>
            <a:ext cx="8878887" cy="2563779"/>
          </a:xfrm>
        </p:spPr>
        <p:txBody>
          <a:bodyPr/>
          <a:lstStyle/>
          <a:p>
            <a:r>
              <a:rPr lang="fr-FR" dirty="0" smtClean="0">
                <a:solidFill>
                  <a:schemeClr val="bg1"/>
                </a:solidFill>
                <a:latin typeface="Calibri" pitchFamily="34" charset="0"/>
              </a:rPr>
              <a:t>Présentation du stage à</a:t>
            </a:r>
            <a:br>
              <a:rPr lang="fr-FR" dirty="0" smtClean="0">
                <a:solidFill>
                  <a:schemeClr val="bg1"/>
                </a:solidFill>
                <a:latin typeface="Calibri" pitchFamily="34" charset="0"/>
              </a:rPr>
            </a:br>
            <a:r>
              <a:rPr lang="fr-FR" b="1" dirty="0" smtClean="0">
                <a:solidFill>
                  <a:schemeClr val="bg1"/>
                </a:solidFill>
                <a:latin typeface="Calibri" pitchFamily="34" charset="0"/>
              </a:rPr>
              <a:t>Capgemini Rennes </a:t>
            </a:r>
            <a:br>
              <a:rPr lang="fr-FR" b="1" dirty="0" smtClean="0">
                <a:solidFill>
                  <a:schemeClr val="bg1"/>
                </a:solidFill>
                <a:latin typeface="Calibri" pitchFamily="34" charset="0"/>
              </a:rPr>
            </a:br>
            <a:r>
              <a:rPr lang="fr-FR" dirty="0" smtClean="0">
                <a:solidFill>
                  <a:schemeClr val="bg1"/>
                </a:solidFill>
                <a:latin typeface="Calibri" pitchFamily="34" charset="0"/>
              </a:rPr>
              <a:t>sur le projet</a:t>
            </a:r>
            <a:r>
              <a:rPr lang="fr-FR" b="1" dirty="0" smtClean="0">
                <a:solidFill>
                  <a:schemeClr val="bg1"/>
                </a:solidFill>
                <a:latin typeface="Calibri" pitchFamily="34" charset="0"/>
              </a:rPr>
              <a:t/>
            </a:r>
            <a:br>
              <a:rPr lang="fr-FR" b="1" dirty="0" smtClean="0">
                <a:solidFill>
                  <a:schemeClr val="bg1"/>
                </a:solidFill>
                <a:latin typeface="Calibri" pitchFamily="34" charset="0"/>
              </a:rPr>
            </a:br>
            <a:r>
              <a:rPr lang="fr-FR" b="1" dirty="0" smtClean="0">
                <a:solidFill>
                  <a:schemeClr val="bg1"/>
                </a:solidFill>
                <a:latin typeface="Calibri" pitchFamily="34" charset="0"/>
              </a:rPr>
              <a:t/>
            </a:r>
            <a:br>
              <a:rPr lang="fr-FR" b="1" dirty="0" smtClean="0">
                <a:solidFill>
                  <a:schemeClr val="bg1"/>
                </a:solidFill>
                <a:latin typeface="Calibri" pitchFamily="34" charset="0"/>
              </a:rPr>
            </a:br>
            <a:r>
              <a:rPr lang="fr-FR" b="1" dirty="0" smtClean="0">
                <a:solidFill>
                  <a:schemeClr val="bg1"/>
                </a:solidFill>
                <a:latin typeface="Calibri" pitchFamily="34" charset="0"/>
              </a:rPr>
              <a:t>      GEOFIBRE</a:t>
            </a:r>
            <a:r>
              <a:rPr lang="fr-FR" dirty="0" smtClean="0">
                <a:solidFill>
                  <a:schemeClr val="bg1"/>
                </a:solidFill>
                <a:latin typeface="Calibri" pitchFamily="34" charset="0"/>
              </a:rPr>
              <a:t/>
            </a:r>
            <a:br>
              <a:rPr lang="fr-FR" dirty="0" smtClean="0">
                <a:solidFill>
                  <a:schemeClr val="bg1"/>
                </a:solidFill>
                <a:latin typeface="Calibri" pitchFamily="34" charset="0"/>
              </a:rPr>
            </a:br>
            <a:r>
              <a:rPr lang="fr-FR" dirty="0" smtClean="0">
                <a:solidFill>
                  <a:schemeClr val="bg1"/>
                </a:solidFill>
                <a:latin typeface="Calibri" pitchFamily="34" charset="0"/>
              </a:rPr>
              <a:t/>
            </a:r>
            <a:br>
              <a:rPr lang="fr-FR" dirty="0" smtClean="0">
                <a:solidFill>
                  <a:schemeClr val="bg1"/>
                </a:solidFill>
                <a:latin typeface="Calibri" pitchFamily="34" charset="0"/>
              </a:rPr>
            </a:br>
            <a:endParaRPr lang="fr-FR" b="1" dirty="0">
              <a:solidFill>
                <a:schemeClr val="bg1"/>
              </a:solidFill>
              <a:latin typeface="Calibri" pitchFamily="34" charset="0"/>
            </a:endParaRPr>
          </a:p>
        </p:txBody>
      </p:sp>
      <p:sp>
        <p:nvSpPr>
          <p:cNvPr id="13" name="Sous-titre 12"/>
          <p:cNvSpPr>
            <a:spLocks noGrp="1"/>
          </p:cNvSpPr>
          <p:nvPr>
            <p:ph type="subTitle" idx="1"/>
          </p:nvPr>
        </p:nvSpPr>
        <p:spPr>
          <a:xfrm>
            <a:off x="482600" y="4602598"/>
            <a:ext cx="4047458" cy="861774"/>
          </a:xfrm>
        </p:spPr>
        <p:txBody>
          <a:bodyPr/>
          <a:lstStyle/>
          <a:p>
            <a:r>
              <a:rPr lang="fr-FR" sz="2800" b="1" dirty="0" smtClean="0">
                <a:solidFill>
                  <a:schemeClr val="bg1"/>
                </a:solidFill>
                <a:latin typeface="Calibri" pitchFamily="34" charset="0"/>
              </a:rPr>
              <a:t>Thibault Gauthier</a:t>
            </a:r>
          </a:p>
          <a:p>
            <a:r>
              <a:rPr lang="fr-FR" sz="2800" dirty="0" smtClean="0">
                <a:solidFill>
                  <a:schemeClr val="bg1"/>
                </a:solidFill>
                <a:latin typeface="Calibri" pitchFamily="34" charset="0"/>
              </a:rPr>
              <a:t>Le 2 Juin 2015</a:t>
            </a:r>
            <a:endParaRPr lang="fr-FR" sz="2800" dirty="0">
              <a:solidFill>
                <a:schemeClr val="bg1"/>
              </a:solidFill>
              <a:latin typeface="Calibri" pitchFamily="34" charset="0"/>
            </a:endParaRPr>
          </a:p>
        </p:txBody>
      </p:sp>
      <p:pic>
        <p:nvPicPr>
          <p:cNvPr id="15" name="Picture 6" descr="image001"/>
          <p:cNvPicPr>
            <a:picLocks noChangeAspect="1" noChangeArrowheads="1"/>
          </p:cNvPicPr>
          <p:nvPr/>
        </p:nvPicPr>
        <p:blipFill>
          <a:blip r:embed="rId3"/>
          <a:srcRect/>
          <a:stretch>
            <a:fillRect/>
          </a:stretch>
        </p:blipFill>
        <p:spPr bwMode="auto">
          <a:xfrm>
            <a:off x="444500" y="3797300"/>
            <a:ext cx="444500" cy="444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Mon arrivée sur le projet</a:t>
            </a:r>
            <a:endParaRPr lang="fr-FR" dirty="0"/>
          </a:p>
        </p:txBody>
      </p:sp>
      <p:sp>
        <p:nvSpPr>
          <p:cNvPr id="5" name="Espace réservé du contenu 4"/>
          <p:cNvSpPr>
            <a:spLocks noGrp="1"/>
          </p:cNvSpPr>
          <p:nvPr>
            <p:ph idx="1"/>
          </p:nvPr>
        </p:nvSpPr>
        <p:spPr>
          <a:xfrm>
            <a:off x="493713" y="2024063"/>
            <a:ext cx="5564187" cy="4081463"/>
          </a:xfrm>
        </p:spPr>
        <p:txBody>
          <a:bodyPr/>
          <a:lstStyle/>
          <a:p>
            <a:r>
              <a:rPr lang="fr-FR" sz="2000" dirty="0" smtClean="0"/>
              <a:t>Renforcement de l’équipe de développement</a:t>
            </a:r>
          </a:p>
          <a:p>
            <a:pPr>
              <a:buNone/>
            </a:pPr>
            <a:endParaRPr lang="fr-FR" sz="2000" dirty="0" smtClean="0"/>
          </a:p>
          <a:p>
            <a:r>
              <a:rPr lang="fr-FR" sz="2000" dirty="0" smtClean="0"/>
              <a:t>Fin de phase de développement de la</a:t>
            </a:r>
          </a:p>
          <a:p>
            <a:pPr>
              <a:buNone/>
            </a:pPr>
            <a:r>
              <a:rPr lang="fr-FR" sz="2000" dirty="0" smtClean="0"/>
              <a:t>   Version actuelle (G1R6)</a:t>
            </a:r>
          </a:p>
          <a:p>
            <a:pPr>
              <a:buNone/>
            </a:pPr>
            <a:endParaRPr lang="fr-FR" sz="2000" dirty="0" smtClean="0"/>
          </a:p>
          <a:p>
            <a:r>
              <a:rPr lang="fr-FR" sz="2000" dirty="0" smtClean="0"/>
              <a:t>Montée en compétence (Semaines 11 et 12)</a:t>
            </a:r>
          </a:p>
          <a:p>
            <a:pPr>
              <a:buNone/>
            </a:pPr>
            <a:endParaRPr lang="fr-FR" sz="2000" dirty="0" smtClean="0"/>
          </a:p>
          <a:p>
            <a:pPr lvl="1"/>
            <a:r>
              <a:rPr lang="fr-FR" sz="2000" dirty="0" smtClean="0"/>
              <a:t>Processus Capgemini</a:t>
            </a:r>
          </a:p>
          <a:p>
            <a:pPr lvl="1"/>
            <a:r>
              <a:rPr lang="fr-FR" sz="2000" dirty="0" smtClean="0"/>
              <a:t>Architecture de l’application</a:t>
            </a:r>
          </a:p>
          <a:p>
            <a:pPr lvl="1"/>
            <a:r>
              <a:rPr lang="fr-FR" sz="2000" dirty="0" smtClean="0"/>
              <a:t>Technologies</a:t>
            </a:r>
          </a:p>
          <a:p>
            <a:pPr lvl="1"/>
            <a:r>
              <a:rPr lang="fr-FR" sz="2000" dirty="0" smtClean="0"/>
              <a:t>Outils</a:t>
            </a:r>
          </a:p>
          <a:p>
            <a:pPr lvl="1"/>
            <a:r>
              <a:rPr lang="fr-FR" sz="2000" dirty="0" smtClean="0"/>
              <a:t>Lexique SIG</a:t>
            </a:r>
          </a:p>
          <a:p>
            <a:pPr lvl="1"/>
            <a:r>
              <a:rPr lang="fr-FR" sz="2000" dirty="0" smtClean="0"/>
              <a:t>Lexique FTTH</a:t>
            </a:r>
          </a:p>
          <a:p>
            <a:pPr>
              <a:buNone/>
            </a:pPr>
            <a:endParaRPr lang="fr-FR" sz="2000" dirty="0" smtClean="0"/>
          </a:p>
          <a:p>
            <a:pPr>
              <a:buNone/>
            </a:pPr>
            <a:endParaRPr lang="fr-FR" sz="2000" dirty="0" smtClean="0"/>
          </a:p>
          <a:p>
            <a:pPr>
              <a:buNone/>
            </a:pPr>
            <a:endParaRPr lang="fr-FR" sz="2000" dirty="0" smtClean="0"/>
          </a:p>
        </p:txBody>
      </p:sp>
      <p:pic>
        <p:nvPicPr>
          <p:cNvPr id="187406" name="Picture 14" descr="http://webhelp.esri.com/arcgisexplorer/1500/fr/projection_secant_methods_flattening_earth.png"/>
          <p:cNvPicPr>
            <a:picLocks noChangeAspect="1" noChangeArrowheads="1"/>
          </p:cNvPicPr>
          <p:nvPr/>
        </p:nvPicPr>
        <p:blipFill>
          <a:blip r:embed="rId3"/>
          <a:srcRect/>
          <a:stretch>
            <a:fillRect/>
          </a:stretch>
        </p:blipFill>
        <p:spPr bwMode="auto">
          <a:xfrm>
            <a:off x="6129338" y="1714500"/>
            <a:ext cx="3471862" cy="3729038"/>
          </a:xfrm>
          <a:prstGeom prst="rect">
            <a:avLst/>
          </a:prstGeom>
          <a:noFill/>
        </p:spPr>
      </p:pic>
      <p:sp>
        <p:nvSpPr>
          <p:cNvPr id="187408" name="AutoShape 16" descr="Image pour le résultat associé aux actualités"/>
          <p:cNvSpPr>
            <a:spLocks noChangeAspect="1" noChangeArrowheads="1"/>
          </p:cNvSpPr>
          <p:nvPr/>
        </p:nvSpPr>
        <p:spPr bwMode="auto">
          <a:xfrm>
            <a:off x="155575" y="-457200"/>
            <a:ext cx="1276350" cy="952500"/>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6" name="ZoneTexte 5"/>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10</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Travail réalisé sur la version G1R6</a:t>
            </a:r>
            <a:endParaRPr lang="fr-FR" dirty="0"/>
          </a:p>
        </p:txBody>
      </p:sp>
      <p:sp>
        <p:nvSpPr>
          <p:cNvPr id="5" name="Espace réservé du contenu 4"/>
          <p:cNvSpPr>
            <a:spLocks noGrp="1"/>
          </p:cNvSpPr>
          <p:nvPr>
            <p:ph idx="1"/>
          </p:nvPr>
        </p:nvSpPr>
        <p:spPr>
          <a:xfrm>
            <a:off x="493713" y="2024063"/>
            <a:ext cx="5564187" cy="4081463"/>
          </a:xfrm>
        </p:spPr>
        <p:txBody>
          <a:bodyPr/>
          <a:lstStyle/>
          <a:p>
            <a:r>
              <a:rPr lang="fr-FR" sz="2000" dirty="0" smtClean="0"/>
              <a:t>Semaine 13 : </a:t>
            </a:r>
          </a:p>
          <a:p>
            <a:pPr>
              <a:buNone/>
            </a:pPr>
            <a:endParaRPr lang="fr-FR" sz="2000" dirty="0" smtClean="0"/>
          </a:p>
          <a:p>
            <a:endParaRPr lang="fr-FR" sz="2000" dirty="0" smtClean="0"/>
          </a:p>
          <a:p>
            <a:r>
              <a:rPr lang="fr-FR" sz="2000" dirty="0" smtClean="0"/>
              <a:t>Semaine 14</a:t>
            </a:r>
          </a:p>
          <a:p>
            <a:pPr>
              <a:buNone/>
            </a:pPr>
            <a:endParaRPr lang="fr-FR" sz="2000" dirty="0" smtClean="0"/>
          </a:p>
          <a:p>
            <a:pPr>
              <a:buNone/>
            </a:pPr>
            <a:endParaRPr lang="fr-FR" sz="2000" dirty="0" smtClean="0"/>
          </a:p>
          <a:p>
            <a:r>
              <a:rPr lang="fr-FR" sz="2000" dirty="0" smtClean="0"/>
              <a:t>Semaine 15</a:t>
            </a:r>
          </a:p>
          <a:p>
            <a:endParaRPr lang="fr-FR" sz="2000" dirty="0" smtClean="0"/>
          </a:p>
          <a:p>
            <a:pPr>
              <a:buNone/>
            </a:pPr>
            <a:endParaRPr lang="fr-FR" sz="2000" dirty="0" smtClean="0"/>
          </a:p>
          <a:p>
            <a:r>
              <a:rPr lang="fr-FR" sz="2000" dirty="0" smtClean="0"/>
              <a:t>Semaine 16 à 22 :</a:t>
            </a:r>
          </a:p>
          <a:p>
            <a:pPr>
              <a:buNone/>
            </a:pPr>
            <a:endParaRPr lang="fr-FR" sz="2000" dirty="0" smtClean="0"/>
          </a:p>
        </p:txBody>
      </p:sp>
      <p:pic>
        <p:nvPicPr>
          <p:cNvPr id="8" name="Image 7" descr="_original.png"/>
          <p:cNvPicPr>
            <a:picLocks noChangeAspect="1"/>
          </p:cNvPicPr>
          <p:nvPr/>
        </p:nvPicPr>
        <p:blipFill>
          <a:blip r:embed="rId3"/>
          <a:stretch>
            <a:fillRect/>
          </a:stretch>
        </p:blipFill>
        <p:spPr>
          <a:xfrm>
            <a:off x="8559800" y="3035300"/>
            <a:ext cx="812562" cy="812562"/>
          </a:xfrm>
          <a:prstGeom prst="rect">
            <a:avLst/>
          </a:prstGeom>
        </p:spPr>
      </p:pic>
      <p:pic>
        <p:nvPicPr>
          <p:cNvPr id="10" name="Image 9" descr="arcgis-explorer.gif"/>
          <p:cNvPicPr>
            <a:picLocks noChangeAspect="1"/>
          </p:cNvPicPr>
          <p:nvPr/>
        </p:nvPicPr>
        <p:blipFill>
          <a:blip r:embed="rId4"/>
          <a:stretch>
            <a:fillRect/>
          </a:stretch>
        </p:blipFill>
        <p:spPr>
          <a:xfrm>
            <a:off x="8255000" y="5317776"/>
            <a:ext cx="1326300" cy="736097"/>
          </a:xfrm>
          <a:prstGeom prst="rect">
            <a:avLst/>
          </a:prstGeom>
        </p:spPr>
      </p:pic>
      <p:pic>
        <p:nvPicPr>
          <p:cNvPr id="11" name="Image 10" descr="postgresql-logo.png"/>
          <p:cNvPicPr>
            <a:picLocks noChangeAspect="1"/>
          </p:cNvPicPr>
          <p:nvPr/>
        </p:nvPicPr>
        <p:blipFill>
          <a:blip r:embed="rId5"/>
          <a:stretch>
            <a:fillRect/>
          </a:stretch>
        </p:blipFill>
        <p:spPr>
          <a:xfrm>
            <a:off x="8445810" y="4013200"/>
            <a:ext cx="1031531" cy="1146146"/>
          </a:xfrm>
          <a:prstGeom prst="rect">
            <a:avLst/>
          </a:prstGeom>
        </p:spPr>
      </p:pic>
      <p:sp>
        <p:nvSpPr>
          <p:cNvPr id="12" name="ZoneTexte 11"/>
          <p:cNvSpPr txBox="1"/>
          <p:nvPr/>
        </p:nvSpPr>
        <p:spPr>
          <a:xfrm>
            <a:off x="571500" y="2336800"/>
            <a:ext cx="6675461" cy="523220"/>
          </a:xfrm>
          <a:prstGeom prst="rect">
            <a:avLst/>
          </a:prstGeom>
          <a:noFill/>
        </p:spPr>
        <p:txBody>
          <a:bodyPr wrap="square" rtlCol="0">
            <a:spAutoFit/>
          </a:bodyPr>
          <a:lstStyle/>
          <a:p>
            <a:r>
              <a:rPr lang="fr-FR" sz="1400" b="1" dirty="0" smtClean="0"/>
              <a:t>Travail sur la partie IHM </a:t>
            </a:r>
            <a:r>
              <a:rPr lang="fr-FR" sz="1400" dirty="0" smtClean="0"/>
              <a:t>:  externalisation des systèmes de projection, emprise, échelles et de la mini carte.</a:t>
            </a:r>
            <a:endParaRPr lang="fr-FR" sz="1400" dirty="0" smtClean="0">
              <a:solidFill>
                <a:schemeClr val="tx2">
                  <a:lumMod val="50000"/>
                </a:schemeClr>
              </a:solidFill>
            </a:endParaRPr>
          </a:p>
        </p:txBody>
      </p:sp>
      <p:sp>
        <p:nvSpPr>
          <p:cNvPr id="13" name="ZoneTexte 12"/>
          <p:cNvSpPr txBox="1"/>
          <p:nvPr/>
        </p:nvSpPr>
        <p:spPr>
          <a:xfrm>
            <a:off x="584200" y="3263900"/>
            <a:ext cx="6567227" cy="523220"/>
          </a:xfrm>
          <a:prstGeom prst="rect">
            <a:avLst/>
          </a:prstGeom>
          <a:noFill/>
        </p:spPr>
        <p:txBody>
          <a:bodyPr wrap="square" rtlCol="0">
            <a:spAutoFit/>
          </a:bodyPr>
          <a:lstStyle/>
          <a:p>
            <a:r>
              <a:rPr lang="fr-FR" sz="1400" b="1" dirty="0" smtClean="0"/>
              <a:t>Travail sur la partie serveur : </a:t>
            </a:r>
            <a:r>
              <a:rPr lang="fr-FR" sz="1400" dirty="0" smtClean="0"/>
              <a:t>vérification de la bonne réception du paramètre de projection.</a:t>
            </a:r>
            <a:endParaRPr lang="fr-FR" sz="1400" dirty="0" smtClean="0">
              <a:solidFill>
                <a:schemeClr val="tx2">
                  <a:lumMod val="50000"/>
                </a:schemeClr>
              </a:solidFill>
            </a:endParaRPr>
          </a:p>
        </p:txBody>
      </p:sp>
      <p:sp>
        <p:nvSpPr>
          <p:cNvPr id="14" name="ZoneTexte 13"/>
          <p:cNvSpPr txBox="1"/>
          <p:nvPr/>
        </p:nvSpPr>
        <p:spPr>
          <a:xfrm>
            <a:off x="596900" y="4152900"/>
            <a:ext cx="5708366" cy="523220"/>
          </a:xfrm>
          <a:prstGeom prst="rect">
            <a:avLst/>
          </a:prstGeom>
          <a:noFill/>
        </p:spPr>
        <p:txBody>
          <a:bodyPr wrap="square" rtlCol="0">
            <a:spAutoFit/>
          </a:bodyPr>
          <a:lstStyle/>
          <a:p>
            <a:r>
              <a:rPr lang="fr-FR" sz="1400" b="1" dirty="0" smtClean="0"/>
              <a:t>Travail sur la partie serveur</a:t>
            </a:r>
            <a:r>
              <a:rPr lang="fr-FR" sz="1400" dirty="0" smtClean="0"/>
              <a:t> : aiguillage des </a:t>
            </a:r>
            <a:r>
              <a:rPr lang="fr-FR" sz="1400" i="1" dirty="0" err="1" smtClean="0"/>
              <a:t>servlets</a:t>
            </a:r>
            <a:r>
              <a:rPr lang="fr-FR" sz="1400" i="1" dirty="0" smtClean="0"/>
              <a:t> </a:t>
            </a:r>
            <a:r>
              <a:rPr lang="fr-FR" sz="1400" dirty="0" smtClean="0"/>
              <a:t>et analyse de l’impact du code appelant.</a:t>
            </a:r>
          </a:p>
        </p:txBody>
      </p:sp>
      <p:sp>
        <p:nvSpPr>
          <p:cNvPr id="15" name="ZoneTexte 14"/>
          <p:cNvSpPr txBox="1"/>
          <p:nvPr/>
        </p:nvSpPr>
        <p:spPr>
          <a:xfrm>
            <a:off x="569605" y="5161697"/>
            <a:ext cx="5942011" cy="523220"/>
          </a:xfrm>
          <a:prstGeom prst="rect">
            <a:avLst/>
          </a:prstGeom>
          <a:noFill/>
        </p:spPr>
        <p:txBody>
          <a:bodyPr wrap="square" rtlCol="0">
            <a:spAutoFit/>
          </a:bodyPr>
          <a:lstStyle/>
          <a:p>
            <a:r>
              <a:rPr lang="fr-FR" sz="1400" b="1" dirty="0" smtClean="0"/>
              <a:t>Tests d’intégration </a:t>
            </a:r>
            <a:r>
              <a:rPr lang="fr-FR" sz="1400" dirty="0" smtClean="0"/>
              <a:t>sur les différents DOM.</a:t>
            </a:r>
          </a:p>
          <a:p>
            <a:r>
              <a:rPr lang="fr-FR" sz="1400" b="1" dirty="0" smtClean="0"/>
              <a:t>Tests de non-régression </a:t>
            </a:r>
            <a:r>
              <a:rPr lang="fr-FR" sz="1400" dirty="0" smtClean="0"/>
              <a:t>sur la France métropolitaine.</a:t>
            </a:r>
          </a:p>
        </p:txBody>
      </p:sp>
      <p:pic>
        <p:nvPicPr>
          <p:cNvPr id="16" name="Picture 6" descr="http://www.google.fr/url?source=imglanding&amp;ct=img&amp;q=http://git.eclipse.org/c/platform/eclipse.platform.git/plain/platform/org.eclipse.platform/eclipse256.png&amp;sa=X&amp;ei=JkFnVYWZAYyP7AbnjoO4Cw&amp;ved=0CAkQ8wc&amp;usg=AFQjCNFv1-3LuC3d1DGrkb-oNYUgsgx0qA"/>
          <p:cNvPicPr>
            <a:picLocks noChangeAspect="1" noChangeArrowheads="1"/>
          </p:cNvPicPr>
          <p:nvPr/>
        </p:nvPicPr>
        <p:blipFill>
          <a:blip r:embed="rId6"/>
          <a:srcRect/>
          <a:stretch>
            <a:fillRect/>
          </a:stretch>
        </p:blipFill>
        <p:spPr bwMode="auto">
          <a:xfrm>
            <a:off x="7264400" y="3098800"/>
            <a:ext cx="841374" cy="841374"/>
          </a:xfrm>
          <a:prstGeom prst="rect">
            <a:avLst/>
          </a:prstGeom>
          <a:noFill/>
        </p:spPr>
      </p:pic>
      <p:pic>
        <p:nvPicPr>
          <p:cNvPr id="17" name="Picture 8" descr="http://www.google.fr/url?source=imglanding&amp;ct=img&amp;q=http://upload.wikimedia.org/wikipedia/commons/d/da/Adobe_Flash_Builder_v4.0_icon.png&amp;sa=X&amp;ei=PEFnVfiEOOTD7gb0-YDQCg&amp;ved=0CAkQ8wc&amp;usg=AFQjCNFC0NeKWncrdOw_WUPmVhIFdVxf7w"/>
          <p:cNvPicPr>
            <a:picLocks noChangeAspect="1" noChangeArrowheads="1"/>
          </p:cNvPicPr>
          <p:nvPr/>
        </p:nvPicPr>
        <p:blipFill>
          <a:blip r:embed="rId7"/>
          <a:srcRect/>
          <a:stretch>
            <a:fillRect/>
          </a:stretch>
        </p:blipFill>
        <p:spPr bwMode="auto">
          <a:xfrm>
            <a:off x="7303276" y="1993900"/>
            <a:ext cx="812023" cy="803275"/>
          </a:xfrm>
          <a:prstGeom prst="rect">
            <a:avLst/>
          </a:prstGeom>
          <a:noFill/>
        </p:spPr>
      </p:pic>
      <p:pic>
        <p:nvPicPr>
          <p:cNvPr id="18" name="Picture 10" descr="http://t0.gstatic.com/images?q=tbn:ANd9GcQ8hH2Dfi3ptGmUtS93cnl2CkTD5N3chDpR8d7d4GiwZag5KF28IKmLStlkBQ"/>
          <p:cNvPicPr>
            <a:picLocks noChangeAspect="1" noChangeArrowheads="1"/>
          </p:cNvPicPr>
          <p:nvPr/>
        </p:nvPicPr>
        <p:blipFill>
          <a:blip r:embed="rId8"/>
          <a:srcRect/>
          <a:stretch>
            <a:fillRect/>
          </a:stretch>
        </p:blipFill>
        <p:spPr bwMode="auto">
          <a:xfrm>
            <a:off x="7109981" y="5207000"/>
            <a:ext cx="970393" cy="974725"/>
          </a:xfrm>
          <a:prstGeom prst="rect">
            <a:avLst/>
          </a:prstGeom>
          <a:noFill/>
        </p:spPr>
      </p:pic>
      <p:pic>
        <p:nvPicPr>
          <p:cNvPr id="19" name="Picture 2" descr="http://www.google.fr/url?source=imglanding&amp;ct=img&amp;q=http://upload.wikimedia.org/wikipedia/en/0/0f/ActionScript_icon.png&amp;sa=X&amp;ei=m0BnVfn8POi57gap24PYBg&amp;ved=0CAkQ8wc&amp;usg=AFQjCNGQ8G2kPr_CjfRS-_IMtq2lnIi0Iw"/>
          <p:cNvPicPr>
            <a:picLocks noChangeAspect="1" noChangeArrowheads="1"/>
          </p:cNvPicPr>
          <p:nvPr/>
        </p:nvPicPr>
        <p:blipFill>
          <a:blip r:embed="rId9"/>
          <a:srcRect/>
          <a:stretch>
            <a:fillRect/>
          </a:stretch>
        </p:blipFill>
        <p:spPr bwMode="auto">
          <a:xfrm>
            <a:off x="8509000" y="1943100"/>
            <a:ext cx="866774" cy="866774"/>
          </a:xfrm>
          <a:prstGeom prst="rect">
            <a:avLst/>
          </a:prstGeom>
          <a:noFill/>
        </p:spPr>
      </p:pic>
      <p:pic>
        <p:nvPicPr>
          <p:cNvPr id="186370" name="Picture 2" descr="http://www.google.fr/url?source=imglanding&amp;ct=img&amp;q=http://blog.terminal.com/content/images/2015/01/logo.png&amp;sa=X&amp;ei=xEFnVZ3LFNCQ7AaPpIHQAw&amp;ved=0CAkQ8wc&amp;usg=AFQjCNHZIMkpBu2Qx3P3Xe4CJG2fRrKj6g"/>
          <p:cNvPicPr>
            <a:picLocks noChangeAspect="1" noChangeArrowheads="1"/>
          </p:cNvPicPr>
          <p:nvPr/>
        </p:nvPicPr>
        <p:blipFill>
          <a:blip r:embed="rId10"/>
          <a:srcRect/>
          <a:stretch>
            <a:fillRect/>
          </a:stretch>
        </p:blipFill>
        <p:spPr bwMode="auto">
          <a:xfrm>
            <a:off x="7213600" y="4120918"/>
            <a:ext cx="996950" cy="743181"/>
          </a:xfrm>
          <a:prstGeom prst="rect">
            <a:avLst/>
          </a:prstGeom>
          <a:noFill/>
        </p:spPr>
      </p:pic>
      <p:sp>
        <p:nvSpPr>
          <p:cNvPr id="20" name="ZoneTexte 19"/>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11</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12</a:t>
            </a:r>
          </a:p>
        </p:txBody>
      </p:sp>
      <p:sp>
        <p:nvSpPr>
          <p:cNvPr id="9" name="Titre 8"/>
          <p:cNvSpPr>
            <a:spLocks noGrp="1"/>
          </p:cNvSpPr>
          <p:nvPr>
            <p:ph type="ctrTitle"/>
          </p:nvPr>
        </p:nvSpPr>
        <p:spPr>
          <a:xfrm>
            <a:off x="245664" y="3425588"/>
            <a:ext cx="4046970" cy="486162"/>
          </a:xfrm>
        </p:spPr>
        <p:txBody>
          <a:bodyPr/>
          <a:lstStyle/>
          <a:p>
            <a:r>
              <a:rPr lang="fr-FR" dirty="0" smtClean="0">
                <a:solidFill>
                  <a:schemeClr val="bg1"/>
                </a:solidFill>
                <a:latin typeface="Arial" pitchFamily="34" charset="0"/>
                <a:cs typeface="Arial" pitchFamily="34" charset="0"/>
              </a:rPr>
              <a:t>Merci de votre attention</a:t>
            </a:r>
            <a:endParaRPr lang="fr-FR" dirty="0">
              <a:solidFill>
                <a:schemeClr val="bg1"/>
              </a:solidFill>
              <a:latin typeface="Arial" pitchFamily="34" charset="0"/>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Présentation</a:t>
            </a:r>
            <a:endParaRPr lang="fr-FR" dirty="0"/>
          </a:p>
        </p:txBody>
      </p:sp>
      <p:sp>
        <p:nvSpPr>
          <p:cNvPr id="5" name="Espace réservé du contenu 4"/>
          <p:cNvSpPr>
            <a:spLocks noGrp="1"/>
          </p:cNvSpPr>
          <p:nvPr>
            <p:ph idx="1"/>
          </p:nvPr>
        </p:nvSpPr>
        <p:spPr>
          <a:xfrm>
            <a:off x="493713" y="2024063"/>
            <a:ext cx="7265987" cy="4081463"/>
          </a:xfrm>
        </p:spPr>
        <p:txBody>
          <a:bodyPr/>
          <a:lstStyle/>
          <a:p>
            <a:r>
              <a:rPr lang="fr-FR" sz="2000" dirty="0" smtClean="0"/>
              <a:t>Thibault GAUTHIER</a:t>
            </a:r>
          </a:p>
          <a:p>
            <a:endParaRPr lang="fr-FR" sz="2000" dirty="0" smtClean="0"/>
          </a:p>
          <a:p>
            <a:endParaRPr lang="fr-FR" sz="2000" dirty="0" smtClean="0"/>
          </a:p>
          <a:p>
            <a:r>
              <a:rPr lang="fr-FR" sz="2000" dirty="0" smtClean="0"/>
              <a:t>DUT Informatique - Lannion - 2010 - 2012</a:t>
            </a:r>
          </a:p>
          <a:p>
            <a:endParaRPr lang="fr-FR" sz="2000" dirty="0" smtClean="0"/>
          </a:p>
          <a:p>
            <a:endParaRPr lang="fr-FR" sz="2000" dirty="0" smtClean="0"/>
          </a:p>
          <a:p>
            <a:r>
              <a:rPr lang="fr-FR" sz="2000" dirty="0" smtClean="0"/>
              <a:t>Master MIAGE - Rennes -  2012 - 2015</a:t>
            </a:r>
          </a:p>
          <a:p>
            <a:endParaRPr lang="fr-FR" sz="2000" dirty="0" smtClean="0"/>
          </a:p>
          <a:p>
            <a:endParaRPr lang="fr-FR" sz="2000" dirty="0" smtClean="0"/>
          </a:p>
          <a:p>
            <a:r>
              <a:rPr lang="fr-FR" sz="2000" dirty="0" smtClean="0"/>
              <a:t>Développement logiciel</a:t>
            </a:r>
          </a:p>
          <a:p>
            <a:endParaRPr lang="fr-FR" sz="2000" dirty="0" smtClean="0"/>
          </a:p>
          <a:p>
            <a:endParaRPr lang="fr-FR" sz="2000" dirty="0" smtClean="0"/>
          </a:p>
          <a:p>
            <a:r>
              <a:rPr lang="fr-FR" sz="2000" dirty="0" smtClean="0"/>
              <a:t>Stage de fin d’études à Capgemini Rennes </a:t>
            </a:r>
          </a:p>
          <a:p>
            <a:pPr>
              <a:buNone/>
            </a:pPr>
            <a:endParaRPr lang="fr-FR" sz="2000" dirty="0" smtClean="0"/>
          </a:p>
        </p:txBody>
      </p:sp>
      <p:pic>
        <p:nvPicPr>
          <p:cNvPr id="162818" name="Picture 2" descr="http://www.google.fr/url?source=imglanding&amp;ct=img&amp;q=http://www.istic.univ-rennes1.fr/digitalAssets/285/285751_istic-logo-h150.gif&amp;sa=X&amp;ei=pDdnVZL3LaXQ7AaA6oP4BQ&amp;ved=0CAkQ8wc&amp;usg=AFQjCNH5Cf2Hh4Sw9ZvupeFqyNtK6kjbtA"/>
          <p:cNvPicPr>
            <a:picLocks noChangeAspect="1" noChangeArrowheads="1"/>
          </p:cNvPicPr>
          <p:nvPr/>
        </p:nvPicPr>
        <p:blipFill>
          <a:blip r:embed="rId3"/>
          <a:srcRect/>
          <a:stretch>
            <a:fillRect/>
          </a:stretch>
        </p:blipFill>
        <p:spPr bwMode="auto">
          <a:xfrm>
            <a:off x="5905500" y="3302000"/>
            <a:ext cx="4000500" cy="1428750"/>
          </a:xfrm>
          <a:prstGeom prst="rect">
            <a:avLst/>
          </a:prstGeom>
          <a:noFill/>
        </p:spPr>
      </p:pic>
      <p:sp>
        <p:nvSpPr>
          <p:cNvPr id="6" name="ZoneTexte 5"/>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2</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Le centre de services TMA OSS</a:t>
            </a:r>
            <a:endParaRPr lang="fr-FR" dirty="0"/>
          </a:p>
        </p:txBody>
      </p:sp>
      <p:sp>
        <p:nvSpPr>
          <p:cNvPr id="5" name="Espace réservé du contenu 4"/>
          <p:cNvSpPr>
            <a:spLocks noGrp="1"/>
          </p:cNvSpPr>
          <p:nvPr>
            <p:ph idx="1"/>
          </p:nvPr>
        </p:nvSpPr>
        <p:spPr>
          <a:xfrm>
            <a:off x="493713" y="2024063"/>
            <a:ext cx="8063433" cy="4376737"/>
          </a:xfrm>
        </p:spPr>
        <p:txBody>
          <a:bodyPr/>
          <a:lstStyle/>
          <a:p>
            <a:r>
              <a:rPr lang="fr-FR" sz="2000" dirty="0" smtClean="0"/>
              <a:t>TMA OSS : Tierce Maintenance des Applications OSS d’Orange</a:t>
            </a:r>
          </a:p>
          <a:p>
            <a:pPr>
              <a:buNone/>
            </a:pPr>
            <a:endParaRPr lang="fr-FR" sz="2000" dirty="0" smtClean="0"/>
          </a:p>
          <a:p>
            <a:r>
              <a:rPr lang="fr-FR" sz="2000" dirty="0" smtClean="0"/>
              <a:t>60 applications en activité</a:t>
            </a:r>
          </a:p>
          <a:p>
            <a:endParaRPr lang="fr-FR" sz="2000" dirty="0" smtClean="0"/>
          </a:p>
          <a:p>
            <a:r>
              <a:rPr lang="fr-FR" sz="2000" dirty="0" smtClean="0"/>
              <a:t>Réparties sur 5 domaines différents</a:t>
            </a:r>
          </a:p>
          <a:p>
            <a:endParaRPr lang="fr-FR" sz="2000" dirty="0" smtClean="0"/>
          </a:p>
          <a:p>
            <a:r>
              <a:rPr lang="fr-FR" sz="2000" dirty="0" smtClean="0"/>
              <a:t>Missions diverses :</a:t>
            </a:r>
          </a:p>
          <a:p>
            <a:pPr marL="457200" lvl="2">
              <a:buClr>
                <a:schemeClr val="accent5"/>
              </a:buClr>
            </a:pPr>
            <a:r>
              <a:rPr lang="fr-FR" sz="2000" dirty="0" smtClean="0"/>
              <a:t>Développement d’évolutions</a:t>
            </a:r>
          </a:p>
          <a:p>
            <a:pPr lvl="1"/>
            <a:r>
              <a:rPr lang="fr-FR" sz="2000" dirty="0" smtClean="0"/>
              <a:t>Soutien / Maintenance</a:t>
            </a:r>
          </a:p>
          <a:p>
            <a:pPr lvl="1"/>
            <a:r>
              <a:rPr lang="fr-FR" sz="2000" dirty="0" smtClean="0"/>
              <a:t>Audit / Architecture</a:t>
            </a:r>
          </a:p>
          <a:p>
            <a:pPr lvl="1"/>
            <a:r>
              <a:rPr lang="fr-FR" sz="2000" dirty="0" smtClean="0"/>
              <a:t>Assistance</a:t>
            </a:r>
          </a:p>
          <a:p>
            <a:pPr>
              <a:buNone/>
            </a:pPr>
            <a:endParaRPr lang="fr-FR" sz="2000" dirty="0" smtClean="0"/>
          </a:p>
          <a:p>
            <a:r>
              <a:rPr lang="fr-FR" sz="2000" dirty="0" smtClean="0"/>
              <a:t>Projets piloté par Arnault BELLINA</a:t>
            </a:r>
          </a:p>
          <a:p>
            <a:pPr>
              <a:buNone/>
            </a:pPr>
            <a:endParaRPr lang="fr-FR" sz="2000" dirty="0" smtClean="0"/>
          </a:p>
          <a:p>
            <a:pPr>
              <a:buNone/>
            </a:pPr>
            <a:endParaRPr lang="fr-FR" sz="2000" dirty="0" smtClean="0"/>
          </a:p>
          <a:p>
            <a:pPr>
              <a:buNone/>
            </a:pPr>
            <a:endParaRPr lang="fr-FR" sz="2000" dirty="0" smtClean="0"/>
          </a:p>
        </p:txBody>
      </p:sp>
      <p:pic>
        <p:nvPicPr>
          <p:cNvPr id="6" name="Image 5" descr="logo-orange1.jpg"/>
          <p:cNvPicPr>
            <a:picLocks noChangeAspect="1"/>
          </p:cNvPicPr>
          <p:nvPr/>
        </p:nvPicPr>
        <p:blipFill>
          <a:blip r:embed="rId3"/>
          <a:stretch>
            <a:fillRect/>
          </a:stretch>
        </p:blipFill>
        <p:spPr>
          <a:xfrm>
            <a:off x="6692900" y="2933700"/>
            <a:ext cx="1334516" cy="1334516"/>
          </a:xfrm>
          <a:prstGeom prst="rect">
            <a:avLst/>
          </a:prstGeom>
        </p:spPr>
      </p:pic>
      <p:sp>
        <p:nvSpPr>
          <p:cNvPr id="7" name="ZoneTexte 6"/>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3</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Le domaine de compétences SIG</a:t>
            </a:r>
            <a:endParaRPr lang="fr-FR" dirty="0"/>
          </a:p>
        </p:txBody>
      </p:sp>
      <p:sp>
        <p:nvSpPr>
          <p:cNvPr id="5" name="Espace réservé du contenu 4"/>
          <p:cNvSpPr>
            <a:spLocks noGrp="1"/>
          </p:cNvSpPr>
          <p:nvPr>
            <p:ph idx="1"/>
          </p:nvPr>
        </p:nvSpPr>
        <p:spPr>
          <a:xfrm>
            <a:off x="493713" y="2024063"/>
            <a:ext cx="7265987" cy="4081463"/>
          </a:xfrm>
        </p:spPr>
        <p:txBody>
          <a:bodyPr/>
          <a:lstStyle/>
          <a:p>
            <a:r>
              <a:rPr lang="fr-FR" sz="2000" dirty="0" smtClean="0"/>
              <a:t>SIG veut dire Système d’information géographique </a:t>
            </a:r>
          </a:p>
          <a:p>
            <a:endParaRPr lang="fr-FR" sz="2000" dirty="0" smtClean="0"/>
          </a:p>
          <a:p>
            <a:r>
              <a:rPr lang="fr-FR" sz="2000" dirty="0" smtClean="0"/>
              <a:t>3 projets dans le domaine SIG basés sur le progiciel</a:t>
            </a:r>
          </a:p>
          <a:p>
            <a:pPr lvl="1"/>
            <a:r>
              <a:rPr lang="fr-FR" sz="2000" dirty="0" smtClean="0"/>
              <a:t>SIGEO</a:t>
            </a:r>
          </a:p>
          <a:p>
            <a:pPr lvl="1"/>
            <a:r>
              <a:rPr lang="fr-FR" sz="2000" dirty="0" smtClean="0"/>
              <a:t>VASCO</a:t>
            </a:r>
          </a:p>
          <a:p>
            <a:pPr lvl="1"/>
            <a:r>
              <a:rPr lang="fr-FR" sz="2000" dirty="0" smtClean="0"/>
              <a:t>GEOFIBRE</a:t>
            </a:r>
          </a:p>
          <a:p>
            <a:pPr>
              <a:buNone/>
            </a:pPr>
            <a:endParaRPr lang="fr-FR" sz="2000" dirty="0" smtClean="0"/>
          </a:p>
          <a:p>
            <a:r>
              <a:rPr lang="fr-FR" sz="2000" dirty="0" smtClean="0"/>
              <a:t>20 collaborateurs répartis sur les 3 projets</a:t>
            </a:r>
          </a:p>
          <a:p>
            <a:endParaRPr lang="fr-FR" sz="2000" dirty="0" smtClean="0"/>
          </a:p>
          <a:p>
            <a:r>
              <a:rPr lang="fr-FR" sz="2000" dirty="0" smtClean="0"/>
              <a:t>Je réalise mon stage sur le projet GEOFIBRE</a:t>
            </a:r>
          </a:p>
          <a:p>
            <a:pPr>
              <a:buNone/>
            </a:pPr>
            <a:endParaRPr lang="fr-FR" sz="2000" dirty="0" smtClean="0"/>
          </a:p>
          <a:p>
            <a:r>
              <a:rPr lang="fr-FR" sz="2000" dirty="0" smtClean="0"/>
              <a:t>Piloté par Patrick </a:t>
            </a:r>
            <a:r>
              <a:rPr lang="fr-FR" sz="2000" dirty="0" err="1" smtClean="0"/>
              <a:t>Veillon</a:t>
            </a:r>
            <a:r>
              <a:rPr lang="fr-FR" sz="2000" dirty="0" smtClean="0"/>
              <a:t> puis Jérôme Le </a:t>
            </a:r>
            <a:r>
              <a:rPr lang="fr-FR" sz="2000" dirty="0" err="1" smtClean="0"/>
              <a:t>Dorze</a:t>
            </a:r>
            <a:endParaRPr lang="fr-FR" sz="2000" dirty="0" smtClean="0"/>
          </a:p>
          <a:p>
            <a:endParaRPr lang="fr-FR" sz="2000" dirty="0" smtClean="0"/>
          </a:p>
          <a:p>
            <a:endParaRPr lang="fr-FR" sz="2000" dirty="0" smtClean="0"/>
          </a:p>
          <a:p>
            <a:pPr>
              <a:buNone/>
            </a:pPr>
            <a:endParaRPr lang="fr-FR" sz="2000" dirty="0" smtClean="0"/>
          </a:p>
          <a:p>
            <a:pPr>
              <a:buNone/>
            </a:pPr>
            <a:endParaRPr lang="fr-FR" sz="2000" dirty="0" smtClean="0"/>
          </a:p>
        </p:txBody>
      </p:sp>
      <p:pic>
        <p:nvPicPr>
          <p:cNvPr id="160772" name="Picture 4" descr="http://www.google.fr/url?source=imglanding&amp;ct=img&amp;q=http://www.microsoft.com/global/enterprise/PublishingImages/partners/esri/esri-10GlobeLogo_sRGB_.png&amp;sa=X&amp;ei=4jdnVdiFF4zd7QbFwIKYBg&amp;ved=0CAkQ8wc&amp;usg=AFQjCNFa4chaWjwQCJ0R7J5oa7V9RL7UDA"/>
          <p:cNvPicPr>
            <a:picLocks noChangeAspect="1" noChangeArrowheads="1"/>
          </p:cNvPicPr>
          <p:nvPr/>
        </p:nvPicPr>
        <p:blipFill>
          <a:blip r:embed="rId3"/>
          <a:srcRect/>
          <a:stretch>
            <a:fillRect/>
          </a:stretch>
        </p:blipFill>
        <p:spPr bwMode="auto">
          <a:xfrm>
            <a:off x="6550925" y="2261091"/>
            <a:ext cx="2281212" cy="1019417"/>
          </a:xfrm>
          <a:prstGeom prst="rect">
            <a:avLst/>
          </a:prstGeom>
          <a:noFill/>
        </p:spPr>
      </p:pic>
      <p:sp>
        <p:nvSpPr>
          <p:cNvPr id="6" name="ZoneTexte 5"/>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4</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Géofibre - Client</a:t>
            </a:r>
            <a:endParaRPr lang="fr-FR" dirty="0"/>
          </a:p>
        </p:txBody>
      </p:sp>
      <p:sp>
        <p:nvSpPr>
          <p:cNvPr id="5" name="Espace réservé du contenu 4"/>
          <p:cNvSpPr>
            <a:spLocks noGrp="1"/>
          </p:cNvSpPr>
          <p:nvPr>
            <p:ph idx="1"/>
          </p:nvPr>
        </p:nvSpPr>
        <p:spPr>
          <a:xfrm>
            <a:off x="493713" y="2024063"/>
            <a:ext cx="4598987" cy="2128837"/>
          </a:xfrm>
        </p:spPr>
        <p:txBody>
          <a:bodyPr/>
          <a:lstStyle/>
          <a:p>
            <a:r>
              <a:rPr lang="fr-FR" sz="2000" dirty="0" smtClean="0"/>
              <a:t>Méthode AGILE  2010 – 2012 </a:t>
            </a:r>
          </a:p>
          <a:p>
            <a:pPr lvl="1"/>
            <a:r>
              <a:rPr lang="fr-FR" sz="2000" dirty="0" smtClean="0"/>
              <a:t>Orange Lannion</a:t>
            </a:r>
          </a:p>
          <a:p>
            <a:pPr lvl="1"/>
            <a:r>
              <a:rPr lang="fr-FR" sz="2000" dirty="0" smtClean="0"/>
              <a:t>Assistante Technique (AT)</a:t>
            </a:r>
          </a:p>
          <a:p>
            <a:pPr>
              <a:buNone/>
            </a:pPr>
            <a:endParaRPr lang="fr-FR" sz="2000" dirty="0" smtClean="0"/>
          </a:p>
          <a:p>
            <a:r>
              <a:rPr lang="fr-FR" sz="2000" dirty="0" smtClean="0"/>
              <a:t>Méthode de travail en Cycle en V</a:t>
            </a:r>
          </a:p>
          <a:p>
            <a:endParaRPr lang="fr-FR" sz="2000" dirty="0" smtClean="0"/>
          </a:p>
          <a:p>
            <a:r>
              <a:rPr lang="fr-FR" sz="2000" dirty="0" smtClean="0"/>
              <a:t>Piloté par Sophie-Coste Martinez</a:t>
            </a:r>
          </a:p>
          <a:p>
            <a:endParaRPr lang="fr-FR" sz="2000" dirty="0" smtClean="0"/>
          </a:p>
          <a:p>
            <a:pPr>
              <a:buNone/>
            </a:pPr>
            <a:endParaRPr lang="fr-FR" sz="2000" dirty="0" smtClean="0"/>
          </a:p>
          <a:p>
            <a:pPr>
              <a:buNone/>
            </a:pPr>
            <a:endParaRPr lang="fr-FR" sz="2000" dirty="0" smtClean="0"/>
          </a:p>
          <a:p>
            <a:endParaRPr lang="fr-FR" sz="2000" dirty="0" smtClean="0"/>
          </a:p>
          <a:p>
            <a:endParaRPr lang="fr-FR" sz="2000" dirty="0" smtClean="0"/>
          </a:p>
          <a:p>
            <a:pPr>
              <a:buNone/>
            </a:pPr>
            <a:endParaRPr lang="fr-FR" sz="2000" dirty="0" smtClean="0"/>
          </a:p>
        </p:txBody>
      </p:sp>
      <p:sp>
        <p:nvSpPr>
          <p:cNvPr id="6" name="Rectangle à coins arrondis 5"/>
          <p:cNvSpPr/>
          <p:nvPr/>
        </p:nvSpPr>
        <p:spPr>
          <a:xfrm>
            <a:off x="5156200" y="1600200"/>
            <a:ext cx="4470400" cy="2400300"/>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r-FR" sz="3600" dirty="0" smtClean="0">
              <a:solidFill>
                <a:schemeClr val="bg1"/>
              </a:solidFill>
              <a:latin typeface="Calibri" pitchFamily="34" charset="0"/>
            </a:endParaRPr>
          </a:p>
          <a:p>
            <a:pPr algn="ctr"/>
            <a:endParaRPr lang="fr-FR" sz="3600" dirty="0" smtClean="0">
              <a:solidFill>
                <a:schemeClr val="bg1"/>
              </a:solidFill>
              <a:latin typeface="Calibri" pitchFamily="34" charset="0"/>
            </a:endParaRPr>
          </a:p>
          <a:p>
            <a:pPr algn="ctr"/>
            <a:r>
              <a:rPr lang="fr-FR" sz="3600" dirty="0" smtClean="0">
                <a:solidFill>
                  <a:schemeClr val="bg1"/>
                </a:solidFill>
                <a:latin typeface="Calibri" pitchFamily="34" charset="0"/>
              </a:rPr>
              <a:t>En </a:t>
            </a:r>
            <a:r>
              <a:rPr lang="fr-FR" sz="3600" b="1" dirty="0" smtClean="0">
                <a:solidFill>
                  <a:schemeClr val="bg1"/>
                </a:solidFill>
                <a:latin typeface="Calibri" pitchFamily="34" charset="0"/>
              </a:rPr>
              <a:t>2010</a:t>
            </a:r>
          </a:p>
          <a:p>
            <a:pPr algn="ctr"/>
            <a:r>
              <a:rPr lang="fr-FR" sz="1800" dirty="0" smtClean="0">
                <a:solidFill>
                  <a:schemeClr val="bg1"/>
                </a:solidFill>
                <a:latin typeface="Calibri" pitchFamily="34" charset="0"/>
              </a:rPr>
              <a:t>Le projet </a:t>
            </a:r>
            <a:r>
              <a:rPr lang="fr-FR" sz="1800" b="1" dirty="0" smtClean="0">
                <a:solidFill>
                  <a:schemeClr val="bg1"/>
                </a:solidFill>
                <a:latin typeface="Calibri" pitchFamily="34" charset="0"/>
              </a:rPr>
              <a:t>Géofibre</a:t>
            </a:r>
            <a:r>
              <a:rPr lang="fr-FR" sz="1800" dirty="0" smtClean="0">
                <a:solidFill>
                  <a:schemeClr val="bg1"/>
                </a:solidFill>
                <a:latin typeface="Calibri" pitchFamily="34" charset="0"/>
              </a:rPr>
              <a:t> est né</a:t>
            </a:r>
          </a:p>
          <a:p>
            <a:pPr algn="ctr"/>
            <a:endParaRPr lang="fr-FR" sz="1800" dirty="0" smtClean="0">
              <a:solidFill>
                <a:schemeClr val="bg1"/>
              </a:solidFill>
              <a:latin typeface="Calibri" pitchFamily="34" charset="0"/>
            </a:endParaRPr>
          </a:p>
          <a:p>
            <a:pPr algn="ctr"/>
            <a:endParaRPr lang="fr-FR" sz="1800" dirty="0" smtClean="0">
              <a:solidFill>
                <a:schemeClr val="bg1"/>
              </a:solidFill>
              <a:latin typeface="Calibri" pitchFamily="34" charset="0"/>
            </a:endParaRPr>
          </a:p>
          <a:p>
            <a:pPr algn="ctr"/>
            <a:endParaRPr lang="fr-FR" sz="2400" dirty="0" smtClean="0">
              <a:solidFill>
                <a:schemeClr val="tx2">
                  <a:lumMod val="50000"/>
                </a:schemeClr>
              </a:solidFill>
            </a:endParaRPr>
          </a:p>
          <a:p>
            <a:pPr algn="ctr"/>
            <a:endParaRPr lang="fr-FR" sz="2400" dirty="0" err="1" smtClean="0">
              <a:solidFill>
                <a:schemeClr val="tx2">
                  <a:lumMod val="50000"/>
                </a:schemeClr>
              </a:solidFill>
            </a:endParaRPr>
          </a:p>
        </p:txBody>
      </p:sp>
      <p:pic>
        <p:nvPicPr>
          <p:cNvPr id="8" name="Image 7" descr="logo-orange1.jpg"/>
          <p:cNvPicPr>
            <a:picLocks noChangeAspect="1"/>
          </p:cNvPicPr>
          <p:nvPr/>
        </p:nvPicPr>
        <p:blipFill>
          <a:blip r:embed="rId3"/>
          <a:stretch>
            <a:fillRect/>
          </a:stretch>
        </p:blipFill>
        <p:spPr>
          <a:xfrm>
            <a:off x="635000" y="4318000"/>
            <a:ext cx="1334516" cy="1334516"/>
          </a:xfrm>
          <a:prstGeom prst="rect">
            <a:avLst/>
          </a:prstGeom>
        </p:spPr>
      </p:pic>
      <p:sp>
        <p:nvSpPr>
          <p:cNvPr id="7" name="ZoneTexte 6"/>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5</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Géofibre</a:t>
            </a:r>
            <a:endParaRPr lang="fr-FR" dirty="0"/>
          </a:p>
        </p:txBody>
      </p:sp>
      <p:sp>
        <p:nvSpPr>
          <p:cNvPr id="5" name="Espace réservé du contenu 4"/>
          <p:cNvSpPr>
            <a:spLocks noGrp="1"/>
          </p:cNvSpPr>
          <p:nvPr>
            <p:ph idx="1"/>
          </p:nvPr>
        </p:nvSpPr>
        <p:spPr>
          <a:xfrm>
            <a:off x="493713" y="2024063"/>
            <a:ext cx="5386387" cy="4081463"/>
          </a:xfrm>
        </p:spPr>
        <p:txBody>
          <a:bodyPr/>
          <a:lstStyle/>
          <a:p>
            <a:pPr>
              <a:buNone/>
            </a:pPr>
            <a:endParaRPr lang="fr-FR" sz="2000" dirty="0" smtClean="0"/>
          </a:p>
          <a:p>
            <a:r>
              <a:rPr lang="fr-FR" sz="2000" dirty="0" smtClean="0"/>
              <a:t>Une application WEB en temps réel</a:t>
            </a:r>
          </a:p>
          <a:p>
            <a:pPr>
              <a:buNone/>
            </a:pPr>
            <a:endParaRPr lang="fr-FR" sz="2000" dirty="0" smtClean="0"/>
          </a:p>
          <a:p>
            <a:r>
              <a:rPr lang="fr-FR" sz="2000" dirty="0" smtClean="0"/>
              <a:t>Permet la conception et la gestion du réseau FTTH (Fibre optique domestique) d’Orange</a:t>
            </a:r>
          </a:p>
          <a:p>
            <a:endParaRPr lang="fr-FR" sz="2000" dirty="0" smtClean="0"/>
          </a:p>
          <a:p>
            <a:r>
              <a:rPr lang="fr-FR" sz="2000" dirty="0" smtClean="0"/>
              <a:t>En France Métropolitaine et dans les départements d’</a:t>
            </a:r>
            <a:r>
              <a:rPr lang="fr-FR" sz="2000" dirty="0" err="1" smtClean="0"/>
              <a:t>Outre-Mer</a:t>
            </a:r>
            <a:endParaRPr lang="fr-FR" sz="2000" dirty="0" smtClean="0"/>
          </a:p>
          <a:p>
            <a:endParaRPr lang="fr-FR" sz="2000" dirty="0" smtClean="0"/>
          </a:p>
          <a:p>
            <a:r>
              <a:rPr lang="fr-FR" sz="2000" dirty="0" smtClean="0"/>
              <a:t>Destinée aux chargés d’affaires et sous-traitants (1150 utilisateurs simultanés)</a:t>
            </a:r>
          </a:p>
          <a:p>
            <a:pPr>
              <a:buNone/>
            </a:pPr>
            <a:endParaRPr lang="fr-FR" sz="2000" dirty="0" smtClean="0"/>
          </a:p>
          <a:p>
            <a:r>
              <a:rPr lang="fr-FR" sz="2000" dirty="0" smtClean="0"/>
              <a:t>Une équipe de 13 personnes à temps plein</a:t>
            </a:r>
          </a:p>
          <a:p>
            <a:pPr>
              <a:buNone/>
            </a:pPr>
            <a:endParaRPr lang="fr-FR" sz="2000" dirty="0" smtClean="0"/>
          </a:p>
          <a:p>
            <a:endParaRPr lang="fr-FR" sz="2000" dirty="0" smtClean="0"/>
          </a:p>
          <a:p>
            <a:endParaRPr lang="fr-FR" sz="2000" dirty="0" smtClean="0"/>
          </a:p>
          <a:p>
            <a:pPr>
              <a:buNone/>
            </a:pPr>
            <a:endParaRPr lang="fr-FR" sz="2000" dirty="0" smtClean="0"/>
          </a:p>
        </p:txBody>
      </p:sp>
      <p:pic>
        <p:nvPicPr>
          <p:cNvPr id="159748" name="Picture 4"/>
          <p:cNvPicPr>
            <a:picLocks noChangeAspect="1" noChangeArrowheads="1"/>
          </p:cNvPicPr>
          <p:nvPr/>
        </p:nvPicPr>
        <p:blipFill>
          <a:blip r:embed="rId3"/>
          <a:srcRect/>
          <a:stretch>
            <a:fillRect/>
          </a:stretch>
        </p:blipFill>
        <p:spPr bwMode="auto">
          <a:xfrm>
            <a:off x="6455036" y="2523983"/>
            <a:ext cx="2809875" cy="2628900"/>
          </a:xfrm>
          <a:prstGeom prst="rect">
            <a:avLst/>
          </a:prstGeom>
          <a:noFill/>
          <a:ln w="9525">
            <a:noFill/>
            <a:miter lim="800000"/>
            <a:headEnd/>
            <a:tailEnd/>
          </a:ln>
        </p:spPr>
      </p:pic>
      <p:sp>
        <p:nvSpPr>
          <p:cNvPr id="6" name="ZoneTexte 5"/>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6</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éofibre – Fond de plan</a:t>
            </a:r>
            <a:endParaRPr lang="fr-FR" dirty="0"/>
          </a:p>
        </p:txBody>
      </p:sp>
      <p:sp>
        <p:nvSpPr>
          <p:cNvPr id="5" name="Espace réservé du contenu 4"/>
          <p:cNvSpPr>
            <a:spLocks noGrp="1"/>
          </p:cNvSpPr>
          <p:nvPr>
            <p:ph idx="1"/>
          </p:nvPr>
        </p:nvSpPr>
        <p:spPr/>
        <p:txBody>
          <a:bodyPr/>
          <a:lstStyle/>
          <a:p>
            <a:endParaRPr lang="fr-FR"/>
          </a:p>
        </p:txBody>
      </p:sp>
      <p:pic>
        <p:nvPicPr>
          <p:cNvPr id="160770" name="Picture 2"/>
          <p:cNvPicPr>
            <a:picLocks noChangeAspect="1" noChangeArrowheads="1"/>
          </p:cNvPicPr>
          <p:nvPr/>
        </p:nvPicPr>
        <p:blipFill>
          <a:blip r:embed="rId3"/>
          <a:srcRect/>
          <a:stretch>
            <a:fillRect/>
          </a:stretch>
        </p:blipFill>
        <p:spPr bwMode="auto">
          <a:xfrm>
            <a:off x="0" y="1502544"/>
            <a:ext cx="10515600" cy="5355456"/>
          </a:xfrm>
          <a:prstGeom prst="rect">
            <a:avLst/>
          </a:prstGeom>
          <a:noFill/>
          <a:ln w="9525">
            <a:noFill/>
            <a:miter lim="800000"/>
            <a:headEnd/>
            <a:tailEnd/>
          </a:ln>
        </p:spPr>
      </p:pic>
      <p:sp>
        <p:nvSpPr>
          <p:cNvPr id="6" name="ZoneTexte 5"/>
          <p:cNvSpPr txBox="1"/>
          <p:nvPr/>
        </p:nvSpPr>
        <p:spPr>
          <a:xfrm>
            <a:off x="0" y="6550925"/>
            <a:ext cx="9905999" cy="338554"/>
          </a:xfrm>
          <a:prstGeom prst="rect">
            <a:avLst/>
          </a:prstGeom>
          <a:noFill/>
        </p:spPr>
        <p:txBody>
          <a:bodyPr wrap="square" rtlCol="0">
            <a:spAutoFit/>
          </a:bodyPr>
          <a:lstStyle/>
          <a:p>
            <a:pPr algn="ctr"/>
            <a:r>
              <a:rPr lang="fr-FR" sz="1600" b="1" dirty="0" smtClean="0"/>
              <a:t>7</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éofibre – Cadastre</a:t>
            </a:r>
            <a:endParaRPr lang="fr-FR" dirty="0"/>
          </a:p>
        </p:txBody>
      </p:sp>
      <p:sp>
        <p:nvSpPr>
          <p:cNvPr id="5" name="Espace réservé du contenu 4"/>
          <p:cNvSpPr>
            <a:spLocks noGrp="1"/>
          </p:cNvSpPr>
          <p:nvPr>
            <p:ph idx="1"/>
          </p:nvPr>
        </p:nvSpPr>
        <p:spPr/>
        <p:txBody>
          <a:bodyPr/>
          <a:lstStyle/>
          <a:p>
            <a:endParaRPr lang="fr-FR"/>
          </a:p>
        </p:txBody>
      </p:sp>
      <p:pic>
        <p:nvPicPr>
          <p:cNvPr id="162818" name="Picture 2"/>
          <p:cNvPicPr>
            <a:picLocks noChangeAspect="1" noChangeArrowheads="1"/>
          </p:cNvPicPr>
          <p:nvPr/>
        </p:nvPicPr>
        <p:blipFill>
          <a:blip r:embed="rId3"/>
          <a:srcRect/>
          <a:stretch>
            <a:fillRect/>
          </a:stretch>
        </p:blipFill>
        <p:spPr bwMode="auto">
          <a:xfrm>
            <a:off x="13648" y="1623856"/>
            <a:ext cx="10144152" cy="5234143"/>
          </a:xfrm>
          <a:prstGeom prst="rect">
            <a:avLst/>
          </a:prstGeom>
          <a:noFill/>
          <a:ln w="9525">
            <a:noFill/>
            <a:miter lim="800000"/>
            <a:headEnd/>
            <a:tailEnd/>
          </a:ln>
        </p:spPr>
      </p:pic>
      <p:sp>
        <p:nvSpPr>
          <p:cNvPr id="6" name="ZoneTexte 5"/>
          <p:cNvSpPr txBox="1"/>
          <p:nvPr/>
        </p:nvSpPr>
        <p:spPr>
          <a:xfrm>
            <a:off x="0" y="6550925"/>
            <a:ext cx="9905999" cy="338554"/>
          </a:xfrm>
          <a:prstGeom prst="rect">
            <a:avLst/>
          </a:prstGeom>
          <a:noFill/>
        </p:spPr>
        <p:txBody>
          <a:bodyPr wrap="square" rtlCol="0">
            <a:spAutoFit/>
          </a:bodyPr>
          <a:lstStyle/>
          <a:p>
            <a:pPr algn="ctr"/>
            <a:r>
              <a:rPr lang="fr-FR" sz="1600" b="1" dirty="0" smtClean="0"/>
              <a:t>8</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éofibre – Zoom sur une construction</a:t>
            </a:r>
            <a:endParaRPr lang="fr-FR" dirty="0"/>
          </a:p>
        </p:txBody>
      </p:sp>
      <p:pic>
        <p:nvPicPr>
          <p:cNvPr id="161794" name="Picture 2"/>
          <p:cNvPicPr>
            <a:picLocks noChangeAspect="1" noChangeArrowheads="1"/>
          </p:cNvPicPr>
          <p:nvPr/>
        </p:nvPicPr>
        <p:blipFill>
          <a:blip r:embed="rId3"/>
          <a:srcRect/>
          <a:stretch>
            <a:fillRect/>
          </a:stretch>
        </p:blipFill>
        <p:spPr bwMode="auto">
          <a:xfrm>
            <a:off x="736979" y="1953039"/>
            <a:ext cx="4402612" cy="4255269"/>
          </a:xfrm>
          <a:prstGeom prst="rect">
            <a:avLst/>
          </a:prstGeom>
          <a:noFill/>
          <a:ln w="9525">
            <a:noFill/>
            <a:miter lim="800000"/>
            <a:headEnd/>
            <a:tailEnd/>
          </a:ln>
        </p:spPr>
      </p:pic>
      <p:sp>
        <p:nvSpPr>
          <p:cNvPr id="4" name="ZoneTexte 3"/>
          <p:cNvSpPr txBox="1"/>
          <p:nvPr/>
        </p:nvSpPr>
        <p:spPr>
          <a:xfrm>
            <a:off x="0" y="6550925"/>
            <a:ext cx="9905999" cy="338554"/>
          </a:xfrm>
          <a:prstGeom prst="rect">
            <a:avLst/>
          </a:prstGeom>
          <a:noFill/>
        </p:spPr>
        <p:txBody>
          <a:bodyPr wrap="square" rtlCol="0">
            <a:spAutoFit/>
          </a:bodyPr>
          <a:lstStyle/>
          <a:p>
            <a:pPr algn="ctr"/>
            <a:r>
              <a:rPr lang="fr-FR" sz="1600" b="1" dirty="0" smtClean="0">
                <a:solidFill>
                  <a:schemeClr val="bg1"/>
                </a:solidFill>
              </a:rPr>
              <a:t>9</a:t>
            </a:r>
          </a:p>
        </p:txBody>
      </p:sp>
      <p:sp>
        <p:nvSpPr>
          <p:cNvPr id="5" name="Espace réservé du contenu 4"/>
          <p:cNvSpPr>
            <a:spLocks noGrp="1"/>
          </p:cNvSpPr>
          <p:nvPr>
            <p:ph idx="1"/>
          </p:nvPr>
        </p:nvSpPr>
        <p:spPr>
          <a:xfrm>
            <a:off x="5952819" y="2080500"/>
            <a:ext cx="3953182" cy="2204897"/>
          </a:xfrm>
        </p:spPr>
        <p:txBody>
          <a:bodyPr/>
          <a:lstStyle/>
          <a:p>
            <a:pPr>
              <a:buNone/>
            </a:pPr>
            <a:endParaRPr lang="fr-FR" sz="1700" dirty="0" smtClean="0"/>
          </a:p>
          <a:p>
            <a:pPr>
              <a:buNone/>
            </a:pPr>
            <a:r>
              <a:rPr lang="fr-FR" sz="1700" dirty="0" smtClean="0"/>
              <a:t>Délimitation du projet de construction</a:t>
            </a:r>
          </a:p>
          <a:p>
            <a:pPr>
              <a:buNone/>
            </a:pPr>
            <a:endParaRPr lang="fr-FR" sz="1700" dirty="0" smtClean="0"/>
          </a:p>
          <a:p>
            <a:pPr>
              <a:buNone/>
            </a:pPr>
            <a:r>
              <a:rPr lang="fr-FR" sz="1700" dirty="0" smtClean="0"/>
              <a:t>Câbles</a:t>
            </a:r>
          </a:p>
          <a:p>
            <a:pPr>
              <a:buNone/>
            </a:pPr>
            <a:endParaRPr lang="fr-FR" sz="1700" dirty="0" smtClean="0"/>
          </a:p>
          <a:p>
            <a:pPr>
              <a:buNone/>
            </a:pPr>
            <a:r>
              <a:rPr lang="fr-FR" sz="1700" dirty="0" smtClean="0"/>
              <a:t>Infrastructures permettant de connecter </a:t>
            </a:r>
          </a:p>
          <a:p>
            <a:pPr>
              <a:buNone/>
            </a:pPr>
            <a:r>
              <a:rPr lang="fr-FR" sz="1700" dirty="0" smtClean="0"/>
              <a:t>les câbles</a:t>
            </a:r>
          </a:p>
          <a:p>
            <a:pPr>
              <a:buNone/>
            </a:pPr>
            <a:endParaRPr lang="fr-FR" sz="1700" dirty="0" smtClean="0"/>
          </a:p>
          <a:p>
            <a:pPr>
              <a:buNone/>
            </a:pPr>
            <a:endParaRPr lang="fr-FR" sz="1700" dirty="0" smtClean="0"/>
          </a:p>
          <a:p>
            <a:pPr>
              <a:buNone/>
            </a:pPr>
            <a:endParaRPr lang="fr-FR" sz="1700" dirty="0" smtClean="0"/>
          </a:p>
          <a:p>
            <a:pPr>
              <a:buNone/>
            </a:pPr>
            <a:endParaRPr lang="fr-FR" sz="1700" dirty="0" smtClean="0"/>
          </a:p>
          <a:p>
            <a:pPr>
              <a:buNone/>
            </a:pPr>
            <a:endParaRPr lang="fr-FR" sz="1700" dirty="0" smtClean="0"/>
          </a:p>
          <a:p>
            <a:pPr>
              <a:buNone/>
            </a:pPr>
            <a:endParaRPr lang="fr-FR" sz="1700" dirty="0" smtClean="0"/>
          </a:p>
        </p:txBody>
      </p:sp>
      <p:sp>
        <p:nvSpPr>
          <p:cNvPr id="6" name="Rectangle 5"/>
          <p:cNvSpPr/>
          <p:nvPr/>
        </p:nvSpPr>
        <p:spPr>
          <a:xfrm>
            <a:off x="5431809" y="3411945"/>
            <a:ext cx="395785" cy="232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7" name="Rectangle 6"/>
          <p:cNvSpPr/>
          <p:nvPr/>
        </p:nvSpPr>
        <p:spPr>
          <a:xfrm>
            <a:off x="5434083" y="2429301"/>
            <a:ext cx="395785" cy="8416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8" name="Rectangle 7"/>
          <p:cNvSpPr/>
          <p:nvPr/>
        </p:nvSpPr>
        <p:spPr>
          <a:xfrm>
            <a:off x="5436357" y="2963835"/>
            <a:ext cx="395785" cy="841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Module 2 les bases du métier en développement et test">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55B7"/>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sz="1600" b="1" dirty="0" smtClean="0">
            <a:solidFill>
              <a:schemeClr val="bg1"/>
            </a:solidFill>
          </a:defRPr>
        </a:defPPr>
      </a:lstStyle>
    </a:txDef>
  </a:objectDefaults>
  <a:extraClrSchemeLst/>
</a:theme>
</file>

<file path=ppt/theme/theme2.xml><?xml version="1.0" encoding="utf-8"?>
<a:theme xmlns:a="http://schemas.openxmlformats.org/drawingml/2006/main" name="Closing slides_co-branded">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55B7"/>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_Group">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55B7"/>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ection break">
  <a:themeElements>
    <a:clrScheme name="Capgemini">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55B7"/>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ule 2 les bases du métier en développement et test</Template>
  <TotalTime>5329</TotalTime>
  <Words>388</Words>
  <Application>Microsoft Office PowerPoint</Application>
  <PresentationFormat>Format A4 (210 x 297 mm)</PresentationFormat>
  <Paragraphs>147</Paragraphs>
  <Slides>12</Slides>
  <Notes>12</Notes>
  <HiddenSlides>0</HiddenSlides>
  <MMClips>0</MMClips>
  <ScaleCrop>false</ScaleCrop>
  <HeadingPairs>
    <vt:vector size="6" baseType="variant">
      <vt:variant>
        <vt:lpstr>Thème</vt:lpstr>
      </vt:variant>
      <vt:variant>
        <vt:i4>4</vt:i4>
      </vt:variant>
      <vt:variant>
        <vt:lpstr>Serveurs OLE incorporés</vt:lpstr>
      </vt:variant>
      <vt:variant>
        <vt:i4>1</vt:i4>
      </vt:variant>
      <vt:variant>
        <vt:lpstr>Titres des diapositives</vt:lpstr>
      </vt:variant>
      <vt:variant>
        <vt:i4>12</vt:i4>
      </vt:variant>
    </vt:vector>
  </HeadingPairs>
  <TitlesOfParts>
    <vt:vector size="17" baseType="lpstr">
      <vt:lpstr>Module 2 les bases du métier en développement et test</vt:lpstr>
      <vt:lpstr>Closing slides_co-branded</vt:lpstr>
      <vt:lpstr>Closing slides_Group</vt:lpstr>
      <vt:lpstr>Section break</vt:lpstr>
      <vt:lpstr>think-cell Slide</vt:lpstr>
      <vt:lpstr>Présentation du stage à Capgemini Rennes  sur le projet        GEOFIBRE  </vt:lpstr>
      <vt:lpstr>Présentation</vt:lpstr>
      <vt:lpstr>Le centre de services TMA OSS</vt:lpstr>
      <vt:lpstr>Le domaine de compétences SIG</vt:lpstr>
      <vt:lpstr>Géofibre - Client</vt:lpstr>
      <vt:lpstr>Géofibre</vt:lpstr>
      <vt:lpstr>Géofibre – Fond de plan</vt:lpstr>
      <vt:lpstr>Géofibre – Cadastre</vt:lpstr>
      <vt:lpstr>Géofibre – Zoom sur une construction</vt:lpstr>
      <vt:lpstr>Mon arrivée sur le projet</vt:lpstr>
      <vt:lpstr>Travail réalisé sur la version G1R6</vt:lpstr>
      <vt:lpstr>Merci de votre attention</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du projet Géofibre</dc:title>
  <dc:creator>Thibault GAUTHIER (thgauthi)</dc:creator>
  <cp:lastModifiedBy>Thibault GAUTHIER (thgauthi)</cp:lastModifiedBy>
  <cp:revision>171</cp:revision>
  <dcterms:created xsi:type="dcterms:W3CDTF">2015-05-19T07:28:58Z</dcterms:created>
  <dcterms:modified xsi:type="dcterms:W3CDTF">2015-06-02T07:15:39Z</dcterms:modified>
</cp:coreProperties>
</file>